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a" ContentType="audio/mp4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tags/tag3.xml" ContentType="application/vnd.openxmlformats-officedocument.presentationml.tags+xml"/>
  <Override PartName="/ppt/theme/themeOverride4.xml" ContentType="application/vnd.openxmlformats-officedocument.themeOverride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ags/tag111.xml" ContentType="application/vnd.openxmlformats-officedocument.presentationml.tags+xml"/>
  <Override PartName="/ppt/theme/themeOverride8.xml" ContentType="application/vnd.openxmlformats-officedocument.themeOverride+xml"/>
  <Override PartName="/ppt/tags/tag112.xml" ContentType="application/vnd.openxmlformats-officedocument.presentationml.tags+xml"/>
  <Override PartName="/ppt/theme/themeOverride9.xml" ContentType="application/vnd.openxmlformats-officedocument.themeOverride+xml"/>
  <Override PartName="/ppt/tags/tag113.xml" ContentType="application/vnd.openxmlformats-officedocument.presentationml.tags+xml"/>
  <Override PartName="/ppt/theme/themeOverride10.xml" ContentType="application/vnd.openxmlformats-officedocument.themeOverride+xml"/>
  <Override PartName="/ppt/theme/theme7.xml" ContentType="application/vnd.openxmlformats-officedocument.theme+xml"/>
  <Override PartName="/ppt/theme/theme8.xml" ContentType="application/vnd.openxmlformats-officedocument.theme+xml"/>
  <Override PartName="/ppt/tags/tag1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  <p:sldMasterId id="2147483720" r:id="rId2"/>
    <p:sldMasterId id="2147483729" r:id="rId3"/>
    <p:sldMasterId id="2147483735" r:id="rId4"/>
    <p:sldMasterId id="2147483759" r:id="rId5"/>
    <p:sldMasterId id="2147483767" r:id="rId6"/>
  </p:sldMasterIdLst>
  <p:notesMasterIdLst>
    <p:notesMasterId r:id="rId24"/>
  </p:notesMasterIdLst>
  <p:handoutMasterIdLst>
    <p:handoutMasterId r:id="rId25"/>
  </p:handoutMasterIdLst>
  <p:sldIdLst>
    <p:sldId id="300" r:id="rId7"/>
    <p:sldId id="538" r:id="rId8"/>
    <p:sldId id="536" r:id="rId9"/>
    <p:sldId id="537" r:id="rId10"/>
    <p:sldId id="531" r:id="rId11"/>
    <p:sldId id="534" r:id="rId12"/>
    <p:sldId id="539" r:id="rId13"/>
    <p:sldId id="553" r:id="rId14"/>
    <p:sldId id="540" r:id="rId15"/>
    <p:sldId id="546" r:id="rId16"/>
    <p:sldId id="557" r:id="rId17"/>
    <p:sldId id="558" r:id="rId18"/>
    <p:sldId id="549" r:id="rId19"/>
    <p:sldId id="556" r:id="rId20"/>
    <p:sldId id="559" r:id="rId21"/>
    <p:sldId id="532" r:id="rId22"/>
    <p:sldId id="332" r:id="rId23"/>
  </p:sldIdLst>
  <p:sldSz cx="12190413" cy="6858000"/>
  <p:notesSz cx="6794500" cy="9906000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0022"/>
    <a:srgbClr val="F39500"/>
    <a:srgbClr val="004A96"/>
    <a:srgbClr val="21A0D2"/>
    <a:srgbClr val="00793A"/>
    <a:srgbClr val="65AC1E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3289" autoAdjust="0"/>
  </p:normalViewPr>
  <p:slideViewPr>
    <p:cSldViewPr snapToGrid="0" showGuides="1">
      <p:cViewPr varScale="1">
        <p:scale>
          <a:sx n="109" d="100"/>
          <a:sy n="109" d="100"/>
        </p:scale>
        <p:origin x="720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077" y="-365"/>
      </p:cViewPr>
      <p:guideLst>
        <p:guide orient="horz" pos="3120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sa Tutor" userId="99671aa5-6774-4c94-9432-462789383f29" providerId="ADAL" clId="{E1090C10-B1A7-4753-BD28-DDE3BFD9DBD1}"/>
    <pc:docChg chg="modSld">
      <pc:chgData name="Lisa Tutor" userId="99671aa5-6774-4c94-9432-462789383f29" providerId="ADAL" clId="{E1090C10-B1A7-4753-BD28-DDE3BFD9DBD1}" dt="2022-09-23T14:45:08.208" v="2" actId="255"/>
      <pc:docMkLst>
        <pc:docMk/>
      </pc:docMkLst>
      <pc:sldChg chg="modSp mod">
        <pc:chgData name="Lisa Tutor" userId="99671aa5-6774-4c94-9432-462789383f29" providerId="ADAL" clId="{E1090C10-B1A7-4753-BD28-DDE3BFD9DBD1}" dt="2022-09-23T14:45:08.208" v="2" actId="255"/>
        <pc:sldMkLst>
          <pc:docMk/>
          <pc:sldMk cId="2961143256" sldId="300"/>
        </pc:sldMkLst>
        <pc:spChg chg="mod">
          <ac:chgData name="Lisa Tutor" userId="99671aa5-6774-4c94-9432-462789383f29" providerId="ADAL" clId="{E1090C10-B1A7-4753-BD28-DDE3BFD9DBD1}" dt="2022-09-23T14:44:52.542" v="0" actId="113"/>
          <ac:spMkLst>
            <pc:docMk/>
            <pc:sldMk cId="2961143256" sldId="300"/>
            <ac:spMk id="18" creationId="{69F6C9A3-4100-4453-BE04-1DD140ECF5FA}"/>
          </ac:spMkLst>
        </pc:spChg>
        <pc:spChg chg="mod">
          <ac:chgData name="Lisa Tutor" userId="99671aa5-6774-4c94-9432-462789383f29" providerId="ADAL" clId="{E1090C10-B1A7-4753-BD28-DDE3BFD9DBD1}" dt="2022-09-23T14:45:08.208" v="2" actId="255"/>
          <ac:spMkLst>
            <pc:docMk/>
            <pc:sldMk cId="2961143256" sldId="300"/>
            <ac:spMk id="19" creationId="{6E742944-46F7-41E7-B706-E7DEB84C51B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#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88" lvl="0" indent="-179388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9279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01253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232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0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6357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00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8929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1236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4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4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4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4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4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4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4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5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9.emf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9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4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2.emf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0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0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1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1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1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1.pn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1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67082F9-EEF2-4DE8-87AD-2A89721628DE}"/>
              </a:ext>
            </a:extLst>
          </p:cNvPr>
          <p:cNvGrpSpPr/>
          <p:nvPr userDrawn="1"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3E8928C9-8A7B-4E53-AED1-979B04D30E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4DC3AF1-FB62-464F-A3D6-8971A498B7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sp>
        <p:nvSpPr>
          <p:cNvPr id="10" name="Rechteck 9">
            <a:extLst>
              <a:ext uri="{FF2B5EF4-FFF2-40B4-BE49-F238E27FC236}">
                <a16:creationId xmlns:a16="http://schemas.microsoft.com/office/drawing/2014/main" id="{86361114-C3C0-400F-950C-7DB1D72B1B99}"/>
              </a:ext>
            </a:extLst>
          </p:cNvPr>
          <p:cNvSpPr/>
          <p:nvPr userDrawn="1"/>
        </p:nvSpPr>
        <p:spPr>
          <a:xfrm>
            <a:off x="0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C0B020B9-5E5D-448A-8923-E0038AE2E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5D7E837F-2E83-4A28-A633-196CF34F6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E5F9DC93-4D1D-4412-83BC-FFD7AD298F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75BF472D-5CCE-4E5D-BDE8-5E66F1E84B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D171A32D-B137-4913-869C-ACF191A0C1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9143423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0E9031-C6CC-4AD9-A413-D4FEDA9930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301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9034875" y="6648451"/>
            <a:ext cx="960842" cy="152400"/>
          </a:xfrm>
        </p:spPr>
        <p:txBody>
          <a:bodyPr/>
          <a:lstStyle>
            <a:lvl1pPr>
              <a:defRPr/>
            </a:lvl1pPr>
          </a:lstStyle>
          <a:p>
            <a:fld id="{B2094FC5-B503-4AE4-BAEE-B3F7E39AB144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5611466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9089901" y="6648451"/>
            <a:ext cx="960842" cy="152400"/>
          </a:xfrm>
        </p:spPr>
        <p:txBody>
          <a:bodyPr/>
          <a:lstStyle>
            <a:lvl1pPr>
              <a:defRPr/>
            </a:lvl1pPr>
          </a:lstStyle>
          <a:p>
            <a:fld id="{47A16120-7D53-4C27-8490-3E27E5C9E2CA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8423347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 (1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917600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1" imgH="472" progId="TCLayout.ActiveDocument.1">
                  <p:embed/>
                </p:oleObj>
              </mc:Choice>
              <mc:Fallback>
                <p:oleObj name="think-cell Slide" r:id="rId6" imgW="471" imgH="472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</p:nvPr>
        </p:nvSpPr>
        <p:spPr>
          <a:xfrm>
            <a:off x="215973" y="1872000"/>
            <a:ext cx="4703910" cy="4608000"/>
          </a:xfrm>
        </p:spPr>
        <p:txBody>
          <a:bodyPr/>
          <a:lstStyle>
            <a:lvl1pPr>
              <a:defRPr sz="1866"/>
            </a:lvl1pPr>
            <a:lvl2pPr>
              <a:defRPr sz="1866"/>
            </a:lvl2pPr>
            <a:lvl3pPr>
              <a:defRPr sz="1866"/>
            </a:lvl3pPr>
            <a:lvl4pPr>
              <a:defRPr sz="1866"/>
            </a:lvl4pPr>
            <a:lvl5pPr>
              <a:defRPr sz="1866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27221" y="1872000"/>
            <a:ext cx="4703910" cy="4608000"/>
          </a:xfrm>
        </p:spPr>
        <p:txBody>
          <a:bodyPr/>
          <a:lstStyle>
            <a:lvl1pPr>
              <a:defRPr sz="1866"/>
            </a:lvl1pPr>
            <a:lvl2pPr>
              <a:defRPr sz="1866"/>
            </a:lvl2pPr>
            <a:lvl3pPr>
              <a:defRPr sz="1866"/>
            </a:lvl3pPr>
            <a:lvl4pPr>
              <a:defRPr sz="1866"/>
            </a:lvl4pPr>
            <a:lvl5pPr>
              <a:defRPr sz="1866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9079318" y="6648451"/>
            <a:ext cx="960842" cy="152400"/>
          </a:xfrm>
        </p:spPr>
        <p:txBody>
          <a:bodyPr/>
          <a:lstStyle>
            <a:lvl1pPr>
              <a:defRPr/>
            </a:lvl1pPr>
          </a:lstStyle>
          <a:p>
            <a:fld id="{0B8DF52E-A5FF-4FC0-9A38-EC1DDCC350AC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0402709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 (1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15973" y="1872000"/>
            <a:ext cx="4699084" cy="4608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</p:nvPr>
        </p:nvSpPr>
        <p:spPr>
          <a:xfrm>
            <a:off x="5327221" y="1872000"/>
            <a:ext cx="4699084" cy="4608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9079318" y="6648451"/>
            <a:ext cx="960842" cy="152400"/>
          </a:xfrm>
        </p:spPr>
        <p:txBody>
          <a:bodyPr/>
          <a:lstStyle>
            <a:lvl1pPr>
              <a:defRPr/>
            </a:lvl1pPr>
          </a:lstStyle>
          <a:p>
            <a:fld id="{A30B226D-2B22-49FA-9217-618B1B0AA84E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3357560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über Inhalt (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</p:nvPr>
        </p:nvSpPr>
        <p:spPr>
          <a:xfrm>
            <a:off x="215972" y="1872000"/>
            <a:ext cx="9815160" cy="2421096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20C51478-6389-411B-8D04-94C466542F0C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7420056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über Text (1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15972" y="1872000"/>
            <a:ext cx="9815160" cy="2805139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B6880EDA-B750-4192-9475-C8029C4498C7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4999082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</p:nvPr>
        </p:nvSpPr>
        <p:spPr>
          <a:xfrm>
            <a:off x="215973" y="1872000"/>
            <a:ext cx="4703910" cy="4608000"/>
          </a:xfrm>
        </p:spPr>
        <p:txBody>
          <a:bodyPr/>
          <a:lstStyle>
            <a:lvl1pPr>
              <a:defRPr sz="3466"/>
            </a:lvl1pPr>
            <a:lvl2pPr>
              <a:defRPr sz="3200"/>
            </a:lvl2pPr>
            <a:lvl3pPr>
              <a:defRPr sz="2666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</p:nvPr>
        </p:nvSpPr>
        <p:spPr>
          <a:xfrm>
            <a:off x="5327221" y="1872000"/>
            <a:ext cx="4703910" cy="4608000"/>
          </a:xfrm>
        </p:spPr>
        <p:txBody>
          <a:bodyPr/>
          <a:lstStyle>
            <a:lvl1pPr>
              <a:defRPr sz="3466"/>
            </a:lvl1pPr>
            <a:lvl2pPr>
              <a:defRPr sz="3200"/>
            </a:lvl2pPr>
            <a:lvl3pPr>
              <a:defRPr sz="2666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4B4403C6-9E17-42A9-8520-47C41220B22B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6929946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, zwei Inhalte über Text (2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215973" y="1872000"/>
            <a:ext cx="4699084" cy="2805139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5327221" y="1872000"/>
            <a:ext cx="4699084" cy="2805139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z"/>
          <p:cNvSpPr>
            <a:spLocks noGrp="1"/>
          </p:cNvSpPr>
          <p:nvPr>
            <p:ph type="body" sz="half" idx="3"/>
          </p:nvPr>
        </p:nvSpPr>
        <p:spPr>
          <a:xfrm>
            <a:off x="215972" y="4869161"/>
            <a:ext cx="11758469" cy="1610839"/>
          </a:xfrm>
        </p:spPr>
        <p:txBody>
          <a:bodyPr/>
          <a:lstStyle>
            <a:lvl1pPr marL="0" indent="0">
              <a:buFont typeface="Arial"/>
              <a:buNone/>
              <a:defRPr>
                <a:solidFill>
                  <a:srgbClr val="717171"/>
                </a:solidFill>
              </a:defRPr>
            </a:lvl1pPr>
            <a:lvl2pPr marL="990501" indent="-380962">
              <a:buClr>
                <a:schemeClr val="bg2">
                  <a:lumMod val="75000"/>
                </a:schemeClr>
              </a:buClr>
              <a:buFont typeface="Lucida Grande"/>
              <a:buChar char="-"/>
              <a:defRPr>
                <a:solidFill>
                  <a:srgbClr val="717171"/>
                </a:solidFill>
              </a:defRPr>
            </a:lvl2pPr>
            <a:lvl3pPr marL="1600040" indent="-380962">
              <a:buClr>
                <a:schemeClr val="bg2">
                  <a:lumMod val="75000"/>
                </a:schemeClr>
              </a:buClr>
              <a:buFont typeface="Lucida Grande"/>
              <a:buChar char="-"/>
              <a:defRPr>
                <a:solidFill>
                  <a:srgbClr val="717171"/>
                </a:solidFill>
              </a:defRPr>
            </a:lvl3pPr>
            <a:lvl4pPr marL="2209579" indent="-380962">
              <a:buClr>
                <a:schemeClr val="bg2">
                  <a:lumMod val="75000"/>
                </a:schemeClr>
              </a:buClr>
              <a:buFont typeface="Lucida Grande"/>
              <a:buChar char="-"/>
              <a:defRPr>
                <a:solidFill>
                  <a:srgbClr val="717171"/>
                </a:solidFill>
              </a:defRPr>
            </a:lvl4pPr>
            <a:lvl5pPr marL="2819118" indent="-380962">
              <a:buClr>
                <a:schemeClr val="bg2">
                  <a:lumMod val="75000"/>
                </a:schemeClr>
              </a:buClr>
              <a:buFont typeface="Lucida Grande"/>
              <a:buChar char="-"/>
              <a:defRPr>
                <a:solidFill>
                  <a:srgbClr val="71717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C432FE7-5D7C-4DD5-B5E6-6C167AD2B3FB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552613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 (1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</p:nvPr>
        </p:nvSpPr>
        <p:spPr>
          <a:xfrm>
            <a:off x="215973" y="1872000"/>
            <a:ext cx="5778409" cy="4608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/>
          <p:cNvSpPr>
            <a:spLocks noGrp="1"/>
          </p:cNvSpPr>
          <p:nvPr>
            <p:ph type="media" sz="half" idx="2"/>
          </p:nvPr>
        </p:nvSpPr>
        <p:spPr>
          <a:xfrm>
            <a:off x="6196031" y="1872000"/>
            <a:ext cx="5778409" cy="4608000"/>
          </a:xfrm>
        </p:spPr>
        <p:txBody>
          <a:bodyPr rtlCol="0"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BC664DC-3094-4155-9560-72EBA8CFA37A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80072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D3235C8-6F0C-41CA-B683-7CC717DF4746}"/>
              </a:ext>
            </a:extLst>
          </p:cNvPr>
          <p:cNvGrpSpPr/>
          <p:nvPr userDrawn="1"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E015501F-EF1E-487A-9AFF-123639E1F17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8991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39E6C98F-9665-4E0D-9BB6-8DDABE7CC6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02171" y="4950638"/>
              <a:ext cx="1619425" cy="586722"/>
            </a:xfrm>
            <a:prstGeom prst="rect">
              <a:avLst/>
            </a:prstGeom>
          </p:spPr>
        </p:pic>
      </p:grpSp>
      <p:sp>
        <p:nvSpPr>
          <p:cNvPr id="20" name="Rechteck 19">
            <a:extLst>
              <a:ext uri="{FF2B5EF4-FFF2-40B4-BE49-F238E27FC236}">
                <a16:creationId xmlns:a16="http://schemas.microsoft.com/office/drawing/2014/main" id="{A70C5411-3A4F-4BDF-9FAA-D73B05209059}"/>
              </a:ext>
            </a:extLst>
          </p:cNvPr>
          <p:cNvSpPr/>
          <p:nvPr userDrawn="1"/>
        </p:nvSpPr>
        <p:spPr>
          <a:xfrm>
            <a:off x="-1" y="800708"/>
            <a:ext cx="618542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E6FD6A2B-A9F6-4E8D-A0E5-0AFED14C8D4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75685E0E-41FD-4F5B-8467-5DCA07455E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0E6AE43E-0219-45C7-987A-26AC44AEE7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F9AAD912-7407-4C58-A444-B57925B805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2E323C60-1899-4A77-BB17-9D3757E29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9605675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 (1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Medienplatzhalter 2"/>
          <p:cNvSpPr>
            <a:spLocks noGrp="1"/>
          </p:cNvSpPr>
          <p:nvPr>
            <p:ph type="media" sz="half" idx="1"/>
          </p:nvPr>
        </p:nvSpPr>
        <p:spPr>
          <a:xfrm>
            <a:off x="215973" y="1872000"/>
            <a:ext cx="5778409" cy="4608000"/>
          </a:xfrm>
        </p:spPr>
        <p:txBody>
          <a:bodyPr rtlCol="0"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</p:nvPr>
        </p:nvSpPr>
        <p:spPr>
          <a:xfrm>
            <a:off x="6196031" y="1872000"/>
            <a:ext cx="5778409" cy="4608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42FA1D34-5231-4F7B-9501-8D2A26C0F4C7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5109036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</p:nvPr>
        </p:nvSpPr>
        <p:spPr>
          <a:xfrm>
            <a:off x="215973" y="1872000"/>
            <a:ext cx="5778409" cy="4608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lipArt-Platzhalter 3"/>
          <p:cNvSpPr>
            <a:spLocks noGrp="1"/>
          </p:cNvSpPr>
          <p:nvPr>
            <p:ph type="clipArt" sz="half" idx="2"/>
          </p:nvPr>
        </p:nvSpPr>
        <p:spPr>
          <a:xfrm>
            <a:off x="6196031" y="1872000"/>
            <a:ext cx="5778409" cy="4608000"/>
          </a:xfrm>
        </p:spPr>
        <p:txBody>
          <a:bodyPr rtlCol="0"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C807C862-9235-4C14-BE2E-820641A9214D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291443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 (1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ClipArt-Platzhalter 2"/>
          <p:cNvSpPr>
            <a:spLocks noGrp="1"/>
          </p:cNvSpPr>
          <p:nvPr>
            <p:ph type="clipArt" sz="half" idx="1"/>
          </p:nvPr>
        </p:nvSpPr>
        <p:spPr>
          <a:xfrm>
            <a:off x="215973" y="1872000"/>
            <a:ext cx="5778409" cy="4608000"/>
          </a:xfrm>
        </p:spPr>
        <p:txBody>
          <a:bodyPr rtlCol="0"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</p:nvPr>
        </p:nvSpPr>
        <p:spPr>
          <a:xfrm>
            <a:off x="6196031" y="1872000"/>
            <a:ext cx="5778409" cy="4608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DDB08EEA-DE29-4F6A-AAB8-FEC18185D8BE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9018703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 (2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</p:nvPr>
        </p:nvSpPr>
        <p:spPr>
          <a:xfrm>
            <a:off x="215973" y="1872000"/>
            <a:ext cx="5778409" cy="4608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196031" y="1872001"/>
            <a:ext cx="5778409" cy="22031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6196031" y="4276838"/>
            <a:ext cx="5778409" cy="22031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DA07C2B5-2FB6-47D6-A2FB-1163059CE3DD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9701552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 (2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215973" y="1872001"/>
            <a:ext cx="5778409" cy="22031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215973" y="4276838"/>
            <a:ext cx="5778409" cy="22031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z"/>
          <p:cNvSpPr>
            <a:spLocks noGrp="1"/>
          </p:cNvSpPr>
          <p:nvPr>
            <p:ph type="body" sz="half" idx="3"/>
          </p:nvPr>
        </p:nvSpPr>
        <p:spPr>
          <a:xfrm>
            <a:off x="6196031" y="1872000"/>
            <a:ext cx="5778409" cy="4608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A8334394-E4B5-4795-97A1-7019BF30B11F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7616390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D0C849BF-C56D-4968-9040-3FA2A0C96CB5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3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361133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(1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FAEE928B-0586-4C84-8D73-B0341BE3BFB9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2881448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 (2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215973" y="1872001"/>
            <a:ext cx="5778409" cy="22031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215973" y="4276838"/>
            <a:ext cx="5778409" cy="22031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6196031" y="1872001"/>
            <a:ext cx="5778409" cy="22031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031" y="4276838"/>
            <a:ext cx="5778409" cy="220316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041F72D-7114-4BB0-B21F-AE5BF795CE9C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8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1691691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 (1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215972" y="1872000"/>
            <a:ext cx="11758469" cy="4608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1A43F8FF-810B-4FF7-9A7C-AD651176C7E0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2991823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/>
        <p:txBody>
          <a:bodyPr rtlCol="0"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51044D4A-EA7B-4FD6-8ED8-3948A84770B6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4127708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0E6AE43E-0219-45C7-987A-26AC44AEE7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F9AAD912-7407-4C58-A444-B57925B805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2E323C60-1899-4A77-BB17-9D3757E29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893980D-DD56-4D62-B4ED-5E987188DDB6}"/>
              </a:ext>
            </a:extLst>
          </p:cNvPr>
          <p:cNvGrpSpPr/>
          <p:nvPr userDrawn="1"/>
        </p:nvGrpSpPr>
        <p:grpSpPr>
          <a:xfrm>
            <a:off x="5996579" y="872716"/>
            <a:ext cx="6194418" cy="1080000"/>
            <a:chOff x="5996579" y="872716"/>
            <a:chExt cx="6194418" cy="108000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85484D7F-366B-4A15-98C7-B01582D196E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6579" y="872716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F7E83170-CA9D-4343-A512-7CA971380C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9808" y="1136032"/>
              <a:ext cx="1619425" cy="586722"/>
            </a:xfrm>
            <a:prstGeom prst="rect">
              <a:avLst/>
            </a:prstGeom>
          </p:spPr>
        </p:pic>
      </p:grpSp>
      <p:sp>
        <p:nvSpPr>
          <p:cNvPr id="15" name="Rechteck 14">
            <a:extLst>
              <a:ext uri="{FF2B5EF4-FFF2-40B4-BE49-F238E27FC236}">
                <a16:creationId xmlns:a16="http://schemas.microsoft.com/office/drawing/2014/main" id="{CCDC6B87-5E5A-4CC3-9E08-18E60912AE7C}"/>
              </a:ext>
            </a:extLst>
          </p:cNvPr>
          <p:cNvSpPr/>
          <p:nvPr userDrawn="1"/>
        </p:nvSpPr>
        <p:spPr>
          <a:xfrm>
            <a:off x="5987005" y="1952716"/>
            <a:ext cx="6203408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16" name="TitelPlaz">
            <a:extLst>
              <a:ext uri="{FF2B5EF4-FFF2-40B4-BE49-F238E27FC236}">
                <a16:creationId xmlns:a16="http://schemas.microsoft.com/office/drawing/2014/main" id="{56678B97-DAFC-4BE6-A77A-6A08DFE36DF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311230" y="2492896"/>
            <a:ext cx="540060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1CBCA590-CF59-4D3F-8F66-F3B1E39305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11230" y="5121188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</p:spTree>
    <p:extLst>
      <p:ext uri="{BB962C8B-B14F-4D97-AF65-F5344CB8AC3E}">
        <p14:creationId xmlns:p14="http://schemas.microsoft.com/office/powerpoint/2010/main" val="2439288495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 (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SmartArt-Platzhalter 2"/>
          <p:cNvSpPr>
            <a:spLocks noGrp="1"/>
          </p:cNvSpPr>
          <p:nvPr>
            <p:ph type="dgm" idx="1"/>
          </p:nvPr>
        </p:nvSpPr>
        <p:spPr/>
        <p:txBody>
          <a:bodyPr rtlCol="0"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9423896C-BE4C-41F0-A815-88B3491C03A3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0535334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/>
        <p:txBody>
          <a:bodyPr rtlCol="0"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D6FEC884-9675-438F-9EDC-7FCF5C97AD37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4930461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</p:nvPr>
        </p:nvSpPr>
        <p:spPr>
          <a:xfrm>
            <a:off x="215973" y="1872000"/>
            <a:ext cx="5778409" cy="4608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</p:nvPr>
        </p:nvSpPr>
        <p:spPr>
          <a:xfrm>
            <a:off x="6196031" y="1872000"/>
            <a:ext cx="5778409" cy="4608000"/>
          </a:xfrm>
        </p:spPr>
        <p:txBody>
          <a:bodyPr rtlCol="0"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C01A5274-5BCD-4498-A0E3-C49D4FF9BF6F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5329505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sz="half" idx="1"/>
          </p:nvPr>
        </p:nvSpPr>
        <p:spPr>
          <a:xfrm>
            <a:off x="215973" y="1872000"/>
            <a:ext cx="5778409" cy="4608000"/>
          </a:xfrm>
        </p:spPr>
        <p:txBody>
          <a:bodyPr rtlCol="0">
            <a:normAutofit/>
          </a:bodyPr>
          <a:lstStyle/>
          <a:p>
            <a:pPr lvl="0"/>
            <a:endParaRPr lang="de-DE" noProof="0" dirty="0"/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</p:nvPr>
        </p:nvSpPr>
        <p:spPr>
          <a:xfrm>
            <a:off x="6196031" y="1872000"/>
            <a:ext cx="5778409" cy="4608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C530D0D7-1624-4AE8-A123-DC23206CD576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9555174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CF2D591-6013-4F29-9D6C-466A543C95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CF2D591-6013-4F29-9D6C-466A543C9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7" y="430443"/>
            <a:ext cx="11736385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6" y="6451322"/>
            <a:ext cx="2164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1"/>
              </a:spcBef>
              <a:spcAft>
                <a:spcPts val="111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2400" dirty="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3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3237D239-AFE8-4A8A-8EA7-D2207713B2FE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1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9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DDF4A98-F6C5-4A7A-924D-20DC09F3E5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1" y="1964565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58579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</p:nvPr>
        </p:nvSpPr>
        <p:spPr>
          <a:xfrm>
            <a:off x="215973" y="1872000"/>
            <a:ext cx="4703910" cy="4608000"/>
          </a:xfrm>
        </p:spPr>
        <p:txBody>
          <a:bodyPr/>
          <a:lstStyle>
            <a:lvl1pPr>
              <a:defRPr sz="3465"/>
            </a:lvl1pPr>
            <a:lvl2pPr>
              <a:defRPr sz="3200"/>
            </a:lvl2pPr>
            <a:lvl3pPr>
              <a:defRPr sz="2666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z"/>
          <p:cNvSpPr>
            <a:spLocks noGrp="1"/>
          </p:cNvSpPr>
          <p:nvPr>
            <p:ph type="body" sz="half" idx="2"/>
          </p:nvPr>
        </p:nvSpPr>
        <p:spPr>
          <a:xfrm>
            <a:off x="5327221" y="1872000"/>
            <a:ext cx="4703910" cy="4608000"/>
          </a:xfrm>
        </p:spPr>
        <p:txBody>
          <a:bodyPr/>
          <a:lstStyle>
            <a:lvl1pPr>
              <a:defRPr sz="3465"/>
            </a:lvl1pPr>
            <a:lvl2pPr>
              <a:defRPr sz="3200"/>
            </a:lvl2pPr>
            <a:lvl3pPr>
              <a:defRPr sz="2666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4B4403C6-9E17-42A9-8520-47C41220B22B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|  Optionale Zusatzinformationen</a:t>
            </a:r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85F124-FA84-4930-8183-437D54FE964E}" type="datetime1">
              <a:rPr lang="de-DE" smtClean="0"/>
              <a:t>23.09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93699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(1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FAEE928B-0586-4C84-8D73-B0341BE3BFB9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|  Optionale Zusatzinformationen</a:t>
            </a:r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0FFF37-6872-46FD-B50A-93BD25E56487}" type="datetime1">
              <a:rPr lang="de-DE" smtClean="0"/>
              <a:t>23.09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33535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 (1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</p:nvPr>
        </p:nvSpPr>
        <p:spPr>
          <a:xfrm>
            <a:off x="215973" y="1872000"/>
            <a:ext cx="4703910" cy="4608000"/>
          </a:xfrm>
        </p:spPr>
        <p:txBody>
          <a:bodyPr/>
          <a:lstStyle>
            <a:lvl1pPr>
              <a:defRPr sz="1866"/>
            </a:lvl1pPr>
            <a:lvl2pPr>
              <a:defRPr sz="1866"/>
            </a:lvl2pPr>
            <a:lvl3pPr>
              <a:defRPr sz="1866"/>
            </a:lvl3pPr>
            <a:lvl4pPr>
              <a:defRPr sz="1866"/>
            </a:lvl4pPr>
            <a:lvl5pPr>
              <a:defRPr sz="1866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27221" y="1872000"/>
            <a:ext cx="4703910" cy="4608000"/>
          </a:xfrm>
        </p:spPr>
        <p:txBody>
          <a:bodyPr/>
          <a:lstStyle>
            <a:lvl1pPr>
              <a:defRPr sz="1866"/>
            </a:lvl1pPr>
            <a:lvl2pPr>
              <a:defRPr sz="1866"/>
            </a:lvl2pPr>
            <a:lvl3pPr>
              <a:defRPr sz="1866"/>
            </a:lvl3pPr>
            <a:lvl4pPr>
              <a:defRPr sz="1866"/>
            </a:lvl4pPr>
            <a:lvl5pPr>
              <a:defRPr sz="1866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9079318" y="6648451"/>
            <a:ext cx="960842" cy="152400"/>
          </a:xfrm>
        </p:spPr>
        <p:txBody>
          <a:bodyPr/>
          <a:lstStyle>
            <a:lvl1pPr>
              <a:defRPr/>
            </a:lvl1pPr>
          </a:lstStyle>
          <a:p>
            <a:fld id="{0B8DF52E-A5FF-4FC0-9A38-EC1DDCC350AC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|  Optionale Zusatzinformationen</a:t>
            </a:r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13D27E-2ED5-4D4D-B143-99800A8A09B1}" type="datetime1">
              <a:rPr lang="de-DE" smtClean="0"/>
              <a:t>23.09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11565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3EA8D3-4D18-496E-8E9D-D0EA997AA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1" imgH="472" progId="TCLayout.ActiveDocument.1">
                  <p:embed/>
                </p:oleObj>
              </mc:Choice>
              <mc:Fallback>
                <p:oleObj name="think-cell Slide" r:id="rId6" imgW="471" imgH="4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3EA8D3-4D18-496E-8E9D-D0EA997AA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9034876" y="6648451"/>
            <a:ext cx="960842" cy="152400"/>
          </a:xfrm>
        </p:spPr>
        <p:txBody>
          <a:bodyPr/>
          <a:lstStyle>
            <a:lvl1pPr>
              <a:defRPr/>
            </a:lvl1pPr>
          </a:lstStyle>
          <a:p>
            <a:fld id="{B2094FC5-B503-4AE4-BAEE-B3F7E39AB144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|  Optionale Zusatzinformationen</a:t>
            </a:r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D0BFA1-8513-488F-9BD7-658130B77E66}" type="datetime1">
              <a:rPr lang="de-DE" smtClean="0"/>
              <a:t>23.09.20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68398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A95809-E671-4E35-8166-4DF62966C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A95809-E671-4E35-8166-4DF62966C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F721AC38-2766-43CB-971E-986E0C3B0C35}"/>
              </a:ext>
            </a:extLst>
          </p:cNvPr>
          <p:cNvSpPr txBox="1"/>
          <p:nvPr userDrawn="1"/>
        </p:nvSpPr>
        <p:spPr>
          <a:xfrm>
            <a:off x="5987006" y="6451322"/>
            <a:ext cx="2164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1"/>
              </a:spcBef>
              <a:spcAft>
                <a:spcPts val="111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2400" dirty="0">
              <a:solidFill>
                <a:srgbClr val="C50022"/>
              </a:solidFill>
            </a:endParaRPr>
          </a:p>
        </p:txBody>
      </p:sp>
      <p:sp>
        <p:nvSpPr>
          <p:cNvPr id="13" name="Datumsplatzhalter 5">
            <a:extLst>
              <a:ext uri="{FF2B5EF4-FFF2-40B4-BE49-F238E27FC236}">
                <a16:creationId xmlns:a16="http://schemas.microsoft.com/office/drawing/2014/main" id="{E7F35D83-2E49-43C2-AFE7-8E15C1CA55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3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AB27FB68-FEB7-489E-8C52-361E8B7C09C6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14" name="Fußzeilenplatzhalter 6">
            <a:extLst>
              <a:ext uri="{FF2B5EF4-FFF2-40B4-BE49-F238E27FC236}">
                <a16:creationId xmlns:a16="http://schemas.microsoft.com/office/drawing/2014/main" id="{C80BE593-88F9-4077-8479-C015A3C89F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1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5" name="Foliennummernplatzhalter 7">
            <a:extLst>
              <a:ext uri="{FF2B5EF4-FFF2-40B4-BE49-F238E27FC236}">
                <a16:creationId xmlns:a16="http://schemas.microsoft.com/office/drawing/2014/main" id="{D67BF167-1BE6-4042-9052-FC67C2A7BE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9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29012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0E6AE43E-0219-45C7-987A-26AC44AEE7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F9AAD912-7407-4C58-A444-B57925B805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2E323C60-1899-4A77-BB17-9D3757E29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69F423E-BA40-4ACF-B1A7-E64F4F053581}"/>
              </a:ext>
            </a:extLst>
          </p:cNvPr>
          <p:cNvGrpSpPr/>
          <p:nvPr userDrawn="1"/>
        </p:nvGrpSpPr>
        <p:grpSpPr>
          <a:xfrm>
            <a:off x="5995995" y="4687321"/>
            <a:ext cx="6194418" cy="1080000"/>
            <a:chOff x="5995995" y="4687321"/>
            <a:chExt cx="6194418" cy="1080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C5325966-C46B-4AA6-9454-5E2A370EDD0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5995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8BE57E5-59B8-45F7-9CBE-BAC57F8621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8213" y="4950637"/>
              <a:ext cx="1619425" cy="586722"/>
            </a:xfrm>
            <a:prstGeom prst="rect">
              <a:avLst/>
            </a:prstGeom>
          </p:spPr>
        </p:pic>
      </p:grpSp>
      <p:sp>
        <p:nvSpPr>
          <p:cNvPr id="20" name="Rechteck 19">
            <a:extLst>
              <a:ext uri="{FF2B5EF4-FFF2-40B4-BE49-F238E27FC236}">
                <a16:creationId xmlns:a16="http://schemas.microsoft.com/office/drawing/2014/main" id="{83B2BBA0-FE2A-4D83-9F15-BE83882C86B7}"/>
              </a:ext>
            </a:extLst>
          </p:cNvPr>
          <p:cNvSpPr/>
          <p:nvPr userDrawn="1"/>
        </p:nvSpPr>
        <p:spPr>
          <a:xfrm>
            <a:off x="5987005" y="800708"/>
            <a:ext cx="620340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1ABFC0A9-24F1-408C-8FF0-2A30B9B9D83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75226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42836C7B-D490-44B1-8BB7-F5D733A5E0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75226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</p:spTree>
    <p:extLst>
      <p:ext uri="{BB962C8B-B14F-4D97-AF65-F5344CB8AC3E}">
        <p14:creationId xmlns:p14="http://schemas.microsoft.com/office/powerpoint/2010/main" val="930542665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ctrTitle"/>
          </p:nvPr>
        </p:nvSpPr>
        <p:spPr>
          <a:xfrm>
            <a:off x="335316" y="356660"/>
            <a:ext cx="9599817" cy="1536171"/>
          </a:xfrm>
        </p:spPr>
        <p:txBody>
          <a:bodyPr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4000" b="1" i="0">
                <a:latin typeface="Arial"/>
                <a:cs typeface="Arial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subTitle" idx="1"/>
          </p:nvPr>
        </p:nvSpPr>
        <p:spPr>
          <a:xfrm>
            <a:off x="335316" y="1943785"/>
            <a:ext cx="9599817" cy="134127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buNone/>
              <a:defRPr sz="33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</p:nvPr>
        </p:nvSpPr>
        <p:spPr>
          <a:xfrm>
            <a:off x="9117415" y="6648451"/>
            <a:ext cx="960842" cy="152400"/>
          </a:xfrm>
        </p:spPr>
        <p:txBody>
          <a:bodyPr/>
          <a:lstStyle>
            <a:lvl1pPr>
              <a:defRPr/>
            </a:lvl1pPr>
          </a:lstStyle>
          <a:p>
            <a:fld id="{EA53E6E2-DA39-4EF7-82F2-5764DEF740BC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</p:nvPr>
        </p:nvSpPr>
        <p:spPr>
          <a:xfrm>
            <a:off x="1056080" y="6720420"/>
            <a:ext cx="7197846" cy="95249"/>
          </a:xfrm>
        </p:spPr>
        <p:txBody>
          <a:bodyPr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latin typeface="Arial"/>
              </a:defRPr>
            </a:lvl1pPr>
          </a:lstStyle>
          <a:p>
            <a:pPr>
              <a:defRPr/>
            </a:pPr>
            <a:r>
              <a:rPr lang="de-DE"/>
              <a:t>|  Optionale Zusatzinformationen</a:t>
            </a:r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</p:nvPr>
        </p:nvSpPr>
        <p:spPr>
          <a:xfrm>
            <a:off x="334390" y="6648451"/>
            <a:ext cx="960842" cy="1524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39671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67082F9-EEF2-4DE8-87AD-2A89721628DE}"/>
              </a:ext>
            </a:extLst>
          </p:cNvPr>
          <p:cNvGrpSpPr/>
          <p:nvPr userDrawn="1"/>
        </p:nvGrpSpPr>
        <p:grpSpPr>
          <a:xfrm>
            <a:off x="1" y="864000"/>
            <a:ext cx="6194418" cy="1080000"/>
            <a:chOff x="1" y="864000"/>
            <a:chExt cx="6194418" cy="108000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3E8928C9-8A7B-4E53-AED1-979B04D30E6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" y="864000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4DC3AF1-FB62-464F-A3D6-8971A498B7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1163" y="1127317"/>
              <a:ext cx="1619425" cy="586722"/>
            </a:xfrm>
            <a:prstGeom prst="rect">
              <a:avLst/>
            </a:prstGeom>
          </p:spPr>
        </p:pic>
      </p:grpSp>
      <p:sp>
        <p:nvSpPr>
          <p:cNvPr id="10" name="Rechteck 9">
            <a:extLst>
              <a:ext uri="{FF2B5EF4-FFF2-40B4-BE49-F238E27FC236}">
                <a16:creationId xmlns:a16="http://schemas.microsoft.com/office/drawing/2014/main" id="{86361114-C3C0-400F-950C-7DB1D72B1B99}"/>
              </a:ext>
            </a:extLst>
          </p:cNvPr>
          <p:cNvSpPr/>
          <p:nvPr userDrawn="1"/>
        </p:nvSpPr>
        <p:spPr>
          <a:xfrm>
            <a:off x="0" y="1944000"/>
            <a:ext cx="619441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C0B020B9-5E5D-448A-8923-E0038AE2E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5D7E837F-2E83-4A28-A633-196CF34F6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E5F9DC93-4D1D-4412-83BC-FFD7AD298F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94ABFAC-3A92-4BA3-8C84-1F7A961DCAEE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75BF472D-5CCE-4E5D-BDE8-5E66F1E84B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Information</a:t>
            </a:r>
            <a:endParaRPr lang="de-DE" dirty="0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D171A32D-B137-4913-869C-ACF191A0C1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47440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8D3235C8-6F0C-41CA-B683-7CC717DF4746}"/>
              </a:ext>
            </a:extLst>
          </p:cNvPr>
          <p:cNvGrpSpPr/>
          <p:nvPr userDrawn="1"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E015501F-EF1E-487A-9AFF-123639E1F17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8991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39E6C98F-9665-4E0D-9BB6-8DDABE7CC6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02171" y="4950638"/>
              <a:ext cx="1619425" cy="586722"/>
            </a:xfrm>
            <a:prstGeom prst="rect">
              <a:avLst/>
            </a:prstGeom>
          </p:spPr>
        </p:pic>
      </p:grpSp>
      <p:sp>
        <p:nvSpPr>
          <p:cNvPr id="20" name="Rechteck 19">
            <a:extLst>
              <a:ext uri="{FF2B5EF4-FFF2-40B4-BE49-F238E27FC236}">
                <a16:creationId xmlns:a16="http://schemas.microsoft.com/office/drawing/2014/main" id="{A70C5411-3A4F-4BDF-9FAA-D73B05209059}"/>
              </a:ext>
            </a:extLst>
          </p:cNvPr>
          <p:cNvSpPr/>
          <p:nvPr userDrawn="1"/>
        </p:nvSpPr>
        <p:spPr>
          <a:xfrm>
            <a:off x="-1" y="800708"/>
            <a:ext cx="6185427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E6FD6A2B-A9F6-4E8D-A0E5-0AFED14C8D4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75685E0E-41FD-4F5B-8467-5DCA07455E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0E6AE43E-0219-45C7-987A-26AC44AEE7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AA5B849F-468C-4DFA-B9CA-C19732AE9270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F9AAD912-7407-4C58-A444-B57925B805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Information</a:t>
            </a:r>
            <a:endParaRPr lang="de-DE" dirty="0"/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2E323C60-1899-4A77-BB17-9D3757E29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88952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0E6AE43E-0219-45C7-987A-26AC44AEE7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92C56F69-C356-44C5-93F2-4BEBBBB4EB48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F9AAD912-7407-4C58-A444-B57925B805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Information</a:t>
            </a:r>
            <a:endParaRPr lang="de-DE" dirty="0"/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2E323C60-1899-4A77-BB17-9D3757E29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893980D-DD56-4D62-B4ED-5E987188DDB6}"/>
              </a:ext>
            </a:extLst>
          </p:cNvPr>
          <p:cNvGrpSpPr/>
          <p:nvPr userDrawn="1"/>
        </p:nvGrpSpPr>
        <p:grpSpPr>
          <a:xfrm>
            <a:off x="5996579" y="872716"/>
            <a:ext cx="6194418" cy="1080000"/>
            <a:chOff x="5996579" y="872716"/>
            <a:chExt cx="6194418" cy="108000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85484D7F-366B-4A15-98C7-B01582D196E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6579" y="872716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F7E83170-CA9D-4343-A512-7CA971380C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9808" y="1136032"/>
              <a:ext cx="1619425" cy="586722"/>
            </a:xfrm>
            <a:prstGeom prst="rect">
              <a:avLst/>
            </a:prstGeom>
          </p:spPr>
        </p:pic>
      </p:grpSp>
      <p:sp>
        <p:nvSpPr>
          <p:cNvPr id="15" name="Rechteck 14">
            <a:extLst>
              <a:ext uri="{FF2B5EF4-FFF2-40B4-BE49-F238E27FC236}">
                <a16:creationId xmlns:a16="http://schemas.microsoft.com/office/drawing/2014/main" id="{CCDC6B87-5E5A-4CC3-9E08-18E60912AE7C}"/>
              </a:ext>
            </a:extLst>
          </p:cNvPr>
          <p:cNvSpPr/>
          <p:nvPr userDrawn="1"/>
        </p:nvSpPr>
        <p:spPr>
          <a:xfrm>
            <a:off x="5987005" y="1952716"/>
            <a:ext cx="6203408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16" name="TitelPlaz">
            <a:extLst>
              <a:ext uri="{FF2B5EF4-FFF2-40B4-BE49-F238E27FC236}">
                <a16:creationId xmlns:a16="http://schemas.microsoft.com/office/drawing/2014/main" id="{56678B97-DAFC-4BE6-A77A-6A08DFE36DF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311230" y="2492896"/>
            <a:ext cx="540060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1CBCA590-CF59-4D3F-8F66-F3B1E39305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11230" y="5121188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</p:spTree>
    <p:extLst>
      <p:ext uri="{BB962C8B-B14F-4D97-AF65-F5344CB8AC3E}">
        <p14:creationId xmlns:p14="http://schemas.microsoft.com/office/powerpoint/2010/main" val="39738267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0E6AE43E-0219-45C7-987A-26AC44AEE7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9449EE2-A171-433A-A8C8-0ACC6CFBBE36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F9AAD912-7407-4C58-A444-B57925B805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Information</a:t>
            </a:r>
            <a:endParaRPr lang="de-DE" dirty="0"/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2E323C60-1899-4A77-BB17-9D3757E29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F69F423E-BA40-4ACF-B1A7-E64F4F053581}"/>
              </a:ext>
            </a:extLst>
          </p:cNvPr>
          <p:cNvGrpSpPr/>
          <p:nvPr userDrawn="1"/>
        </p:nvGrpSpPr>
        <p:grpSpPr>
          <a:xfrm>
            <a:off x="5995995" y="4687321"/>
            <a:ext cx="6194418" cy="1080000"/>
            <a:chOff x="5995995" y="4687321"/>
            <a:chExt cx="6194418" cy="1080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C5325966-C46B-4AA6-9454-5E2A370EDD0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5995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8BE57E5-59B8-45F7-9CBE-BAC57F8621F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8213" y="4950637"/>
              <a:ext cx="1619425" cy="586722"/>
            </a:xfrm>
            <a:prstGeom prst="rect">
              <a:avLst/>
            </a:prstGeom>
          </p:spPr>
        </p:pic>
      </p:grpSp>
      <p:sp>
        <p:nvSpPr>
          <p:cNvPr id="20" name="Rechteck 19">
            <a:extLst>
              <a:ext uri="{FF2B5EF4-FFF2-40B4-BE49-F238E27FC236}">
                <a16:creationId xmlns:a16="http://schemas.microsoft.com/office/drawing/2014/main" id="{83B2BBA0-FE2A-4D83-9F15-BE83882C86B7}"/>
              </a:ext>
            </a:extLst>
          </p:cNvPr>
          <p:cNvSpPr/>
          <p:nvPr userDrawn="1"/>
        </p:nvSpPr>
        <p:spPr>
          <a:xfrm>
            <a:off x="5987005" y="800708"/>
            <a:ext cx="620340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1ABFC0A9-24F1-408C-8FF0-2A30B9B9D83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75226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42836C7B-D490-44B1-8BB7-F5D733A5E0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75226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</p:spTree>
    <p:extLst>
      <p:ext uri="{BB962C8B-B14F-4D97-AF65-F5344CB8AC3E}">
        <p14:creationId xmlns:p14="http://schemas.microsoft.com/office/powerpoint/2010/main" val="8268626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0E6AE43E-0219-45C7-987A-26AC44AEE7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CFBFE5E7-622B-4A27-8E05-A9FD45277D94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F9AAD912-7407-4C58-A444-B57925B805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Information</a:t>
            </a:r>
            <a:endParaRPr lang="de-DE" dirty="0"/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2E323C60-1899-4A77-BB17-9D3757E29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34488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0E6AE43E-0219-45C7-987A-26AC44AEE7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F9AAD912-7407-4C58-A444-B57925B805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2E323C60-1899-4A77-BB17-9D3757E290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6837071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94417B2-1C89-4436-8BBC-864B7CF5F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DB10D25-8F57-4AEE-A617-D7DFB9CE12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C50022"/>
              </a:buClr>
              <a:buSzTx/>
              <a:buFont typeface="Wingdings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C5002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C5002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C5002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0813D924-BFC8-46F0-9A9C-5BC24A9591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AB6FC698-896C-4B8E-B7DC-AE6C25E297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81ED557E-1394-4AA2-ACA6-280C1FA0EE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7797039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94417B2-1C89-4436-8BBC-864B7CF5F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0813D924-BFC8-46F0-9A9C-5BC24A9591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AB6FC698-896C-4B8E-B7DC-AE6C25E297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81ED557E-1394-4AA2-ACA6-280C1FA0EE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530757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 (1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37394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1" imgH="472" progId="TCLayout.ActiveDocument.1">
                  <p:embed/>
                </p:oleObj>
              </mc:Choice>
              <mc:Fallback>
                <p:oleObj name="think-cell Slide" r:id="rId6" imgW="471" imgH="472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z"/>
          <p:cNvSpPr>
            <a:spLocks noGrp="1"/>
          </p:cNvSpPr>
          <p:nvPr>
            <p:ph type="body" sz="half" idx="1"/>
          </p:nvPr>
        </p:nvSpPr>
        <p:spPr>
          <a:xfrm>
            <a:off x="215973" y="1872000"/>
            <a:ext cx="4703910" cy="4608000"/>
          </a:xfrm>
        </p:spPr>
        <p:txBody>
          <a:bodyPr/>
          <a:lstStyle>
            <a:lvl1pPr>
              <a:defRPr sz="1866"/>
            </a:lvl1pPr>
            <a:lvl2pPr>
              <a:defRPr sz="1866"/>
            </a:lvl2pPr>
            <a:lvl3pPr>
              <a:defRPr sz="1866"/>
            </a:lvl3pPr>
            <a:lvl4pPr>
              <a:defRPr sz="1866"/>
            </a:lvl4pPr>
            <a:lvl5pPr>
              <a:defRPr sz="1866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27221" y="1872000"/>
            <a:ext cx="4703910" cy="4608000"/>
          </a:xfrm>
        </p:spPr>
        <p:txBody>
          <a:bodyPr/>
          <a:lstStyle>
            <a:lvl1pPr>
              <a:defRPr sz="1866"/>
            </a:lvl1pPr>
            <a:lvl2pPr>
              <a:defRPr sz="1866"/>
            </a:lvl2pPr>
            <a:lvl3pPr>
              <a:defRPr sz="1866"/>
            </a:lvl3pPr>
            <a:lvl4pPr>
              <a:defRPr sz="1866"/>
            </a:lvl4pPr>
            <a:lvl5pPr>
              <a:defRPr sz="1866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9079318" y="6648451"/>
            <a:ext cx="960842" cy="152400"/>
          </a:xfrm>
        </p:spPr>
        <p:txBody>
          <a:bodyPr/>
          <a:lstStyle>
            <a:lvl1pPr>
              <a:defRPr/>
            </a:lvl1pPr>
          </a:lstStyle>
          <a:p>
            <a:fld id="{0B8DF52E-A5FF-4FC0-9A38-EC1DDCC350AC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6594111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 (1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FAEE928B-0586-4C84-8D73-B0341BE3BFB9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1779260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34" Type="http://schemas.openxmlformats.org/officeDocument/2006/relationships/oleObject" Target="../embeddings/oleObject3.bin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tags" Target="../tags/tag13.xml"/><Relationship Id="rId33" Type="http://schemas.openxmlformats.org/officeDocument/2006/relationships/tags" Target="../tags/tag21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tags" Target="../tags/tag17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theme" Target="../theme/theme4.xml"/><Relationship Id="rId32" Type="http://schemas.openxmlformats.org/officeDocument/2006/relationships/tags" Target="../tags/tag20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tags" Target="../tags/tag16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tags" Target="../tags/tag1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image" Target="../media/image5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image" Target="../media/image7.jp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9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8.png"/><Relationship Id="rId10" Type="http://schemas.openxmlformats.org/officeDocument/2006/relationships/tags" Target="../tags/tag93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92.xml"/><Relationship Id="rId14" Type="http://schemas.openxmlformats.org/officeDocument/2006/relationships/image" Target="../media/image2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747DCB24-CEC9-4DB4-A080-1A0FF6C156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110E367F-6670-448B-B3F2-314691D953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1E87725D-2DB2-44CF-800E-9531DE3AAD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BB2FE3DC-B6A9-4C94-BEB7-1AF73CDFB193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209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2" r:id="rId2"/>
    <p:sldLayoutId id="2147483723" r:id="rId3"/>
    <p:sldLayoutId id="2147483724" r:id="rId4"/>
    <p:sldLayoutId id="2147483725" r:id="rId5"/>
  </p:sldLayoutIdLst>
  <p:hf sldNum="0"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 userDrawn="1">
          <p15:clr>
            <a:srgbClr val="F26B43"/>
          </p15:clr>
        </p15:guide>
        <p15:guide id="2" pos="143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417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19727A9-58A4-450B-85B7-AB5600E3507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A2237DA-812D-49A5-880B-59C900E2462E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4CED1A46-1DE1-4998-B697-4ACAD64CF6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666DEA71-D083-48C2-8F30-C154D2E34E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0BA311D6-0D2D-46B8-BFD1-1652D3D8B1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D90F37CD-FC06-4358-9BBD-497DE36F2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1064C7D5-6350-4018-8628-11634D608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0D1BFC3-531B-4D6B-9F10-EF2C876600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3999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C50022"/>
              </a:buClr>
              <a:buSzTx/>
              <a:buFont typeface="Wingdings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C5002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C5002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C5002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3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260181CF-6489-45C1-A91E-DFA27B7F3832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4029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  <p:sldLayoutId id="2147483732" r:id="rId3"/>
    <p:sldLayoutId id="2147483734" r:id="rId4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chemeClr val="accent1"/>
        </a:buClr>
        <a:buSzTx/>
        <a:buFont typeface="Wingdings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9138" marR="0" indent="-36195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C5002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4738" marR="0" indent="-3556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C5002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513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C5002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8" userDrawn="1">
          <p15:clr>
            <a:srgbClr val="F26B43"/>
          </p15:clr>
        </p15:guide>
        <p15:guide id="2" orient="horz" pos="4042" userDrawn="1">
          <p15:clr>
            <a:srgbClr val="F26B43"/>
          </p15:clr>
        </p15:guide>
        <p15:guide id="3" orient="horz" pos="1275" userDrawn="1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FD031B65-0D81-4337-AD6E-1E6685862D1C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003386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9903159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TitelPlaz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 bwMode="auto">
          <a:xfrm>
            <a:off x="215873" y="357717"/>
            <a:ext cx="9815822" cy="1344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dirty="0"/>
              <a:t>Titelmasterformat durch Klicken bearbeiten</a:t>
            </a:r>
          </a:p>
        </p:txBody>
      </p:sp>
      <p:sp>
        <p:nvSpPr>
          <p:cNvPr id="3075" name="TextPlaz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 bwMode="auto">
          <a:xfrm>
            <a:off x="215873" y="1871133"/>
            <a:ext cx="9815822" cy="4607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dirty="0"/>
              <a:t>Textmasterformat bearbeiten</a:t>
            </a:r>
          </a:p>
          <a:p>
            <a:pPr lvl="1"/>
            <a:r>
              <a:rPr lang="de-DE" altLang="en-US" dirty="0"/>
              <a:t>Zweite Ebene</a:t>
            </a:r>
          </a:p>
          <a:p>
            <a:pPr lvl="2"/>
            <a:r>
              <a:rPr lang="de-DE" altLang="en-US" dirty="0"/>
              <a:t>Dritte Ebene</a:t>
            </a:r>
          </a:p>
          <a:p>
            <a:pPr lvl="3"/>
            <a:r>
              <a:rPr lang="de-DE" altLang="en-US" dirty="0"/>
              <a:t>Vierte Ebene</a:t>
            </a:r>
          </a:p>
          <a:p>
            <a:pPr lvl="4"/>
            <a:r>
              <a:rPr lang="de-DE" altLang="en-US" dirty="0"/>
              <a:t>Fünfte Ebene</a:t>
            </a:r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28"/>
            </p:custDataLst>
          </p:nvPr>
        </p:nvSpPr>
        <p:spPr>
          <a:xfrm>
            <a:off x="10941743" y="6648451"/>
            <a:ext cx="960842" cy="15240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110000"/>
              </a:spcBef>
              <a:spcAft>
                <a:spcPct val="110000"/>
              </a:spcAft>
              <a:defRPr sz="800">
                <a:solidFill>
                  <a:srgbClr val="000000"/>
                </a:solidFill>
              </a:defRPr>
            </a:lvl1pPr>
          </a:lstStyle>
          <a:p>
            <a:fld id="{910205C1-85DA-485B-9653-C2E62639AFCA}" type="slidenum">
              <a:rPr lang="de-DE" altLang="en-US"/>
              <a:pPr/>
              <a:t>‹#›</a:t>
            </a:fld>
            <a:endParaRPr lang="de-DE" altLang="en-US"/>
          </a:p>
        </p:txBody>
      </p:sp>
      <p:sp>
        <p:nvSpPr>
          <p:cNvPr id="5" name="FussPlaz"/>
          <p:cNvSpPr>
            <a:spLocks noGrp="1"/>
          </p:cNvSpPr>
          <p:nvPr>
            <p:ph type="ftr" sz="quarter" idx="3"/>
            <p:custDataLst>
              <p:tags r:id="rId29"/>
            </p:custDataLst>
          </p:nvPr>
        </p:nvSpPr>
        <p:spPr>
          <a:xfrm>
            <a:off x="1214809" y="6675967"/>
            <a:ext cx="8819003" cy="13758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 fontAlgn="auto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2"/>
            <p:custDataLst>
              <p:tags r:id="rId30"/>
            </p:custDataLst>
          </p:nvPr>
        </p:nvSpPr>
        <p:spPr>
          <a:xfrm>
            <a:off x="215872" y="6648451"/>
            <a:ext cx="960842" cy="15240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110000"/>
              </a:spcBef>
              <a:spcAft>
                <a:spcPct val="110000"/>
              </a:spcAft>
              <a:defRPr sz="800">
                <a:solidFill>
                  <a:srgbClr val="000000"/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5/6/16</a:t>
            </a:r>
            <a:endParaRPr lang="de-DE"/>
          </a:p>
        </p:txBody>
      </p:sp>
      <p:sp>
        <p:nvSpPr>
          <p:cNvPr id="13" name="DokuPlaz"/>
          <p:cNvSpPr txBox="1">
            <a:spLocks/>
          </p:cNvSpPr>
          <p:nvPr userDrawn="1">
            <p:custDataLst>
              <p:tags r:id="rId31"/>
            </p:custDataLst>
          </p:nvPr>
        </p:nvSpPr>
        <p:spPr>
          <a:xfrm>
            <a:off x="1248671" y="6762751"/>
            <a:ext cx="9693071" cy="9736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/>
            </a:pPr>
            <a:endParaRPr lang="de-DE" sz="600" dirty="0">
              <a:solidFill>
                <a:srgbClr val="000000"/>
              </a:solidFill>
            </a:endParaRPr>
          </a:p>
        </p:txBody>
      </p:sp>
      <p:sp>
        <p:nvSpPr>
          <p:cNvPr id="11" name="Fix/0,45/0/3,6/14,29"/>
          <p:cNvSpPr>
            <a:spLocks noChangeAspect="1" noChangeArrowheads="1"/>
          </p:cNvSpPr>
          <p:nvPr userDrawn="1">
            <p:custDataLst>
              <p:tags r:id="rId32"/>
            </p:custDataLst>
          </p:nvPr>
        </p:nvSpPr>
        <p:spPr bwMode="auto">
          <a:xfrm>
            <a:off x="10222169" y="0"/>
            <a:ext cx="1729092" cy="6860117"/>
          </a:xfrm>
          <a:prstGeom prst="rect">
            <a:avLst/>
          </a:prstGeom>
          <a:solidFill>
            <a:srgbClr val="EBA6B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de-DE" sz="2400" dirty="0">
              <a:ea typeface="+mn-ea"/>
            </a:endParaRPr>
          </a:p>
        </p:txBody>
      </p:sp>
      <p:pic>
        <p:nvPicPr>
          <p:cNvPr id="3081" name="Fix/0,45/10,23/3,6/3,6"/>
          <p:cNvPicPr>
            <a:picLocks noChangeAspect="1"/>
          </p:cNvPicPr>
          <p:nvPr userDrawn="1">
            <p:custDataLst>
              <p:tags r:id="rId33"/>
            </p:custDataLst>
          </p:nvPr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22169" y="260351"/>
            <a:ext cx="1729092" cy="1729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C44AEF16-3900-49BC-BC9E-C64C21D187BA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9461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</p:sldLayoutIdLst>
  <p:hf sldNum="0" hdr="0" ftr="0" dt="0"/>
  <p:txStyles>
    <p:titleStyle>
      <a:lvl1pPr algn="l" rtl="0" eaLnBrk="0" fontAlgn="base" hangingPunct="0">
        <a:spcBef>
          <a:spcPct val="110000"/>
        </a:spcBef>
        <a:spcAft>
          <a:spcPct val="110000"/>
        </a:spcAft>
        <a:defRPr sz="4000" b="1" kern="1200">
          <a:solidFill>
            <a:srgbClr val="C50022"/>
          </a:solidFill>
          <a:latin typeface="Arial"/>
          <a:ea typeface="MS PGothic" panose="020B0600070205080204" pitchFamily="34" charset="-128"/>
          <a:cs typeface="Arial"/>
        </a:defRPr>
      </a:lvl1pPr>
      <a:lvl2pPr algn="l" rtl="0" eaLnBrk="0" fontAlgn="base" hangingPunct="0">
        <a:spcBef>
          <a:spcPct val="110000"/>
        </a:spcBef>
        <a:spcAft>
          <a:spcPct val="110000"/>
        </a:spcAft>
        <a:defRPr sz="4000" b="1">
          <a:solidFill>
            <a:srgbClr val="C50022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110000"/>
        </a:spcBef>
        <a:spcAft>
          <a:spcPct val="110000"/>
        </a:spcAft>
        <a:defRPr sz="4000" b="1">
          <a:solidFill>
            <a:srgbClr val="C50022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110000"/>
        </a:spcBef>
        <a:spcAft>
          <a:spcPct val="110000"/>
        </a:spcAft>
        <a:defRPr sz="4000" b="1">
          <a:solidFill>
            <a:srgbClr val="C50022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110000"/>
        </a:spcBef>
        <a:spcAft>
          <a:spcPct val="110000"/>
        </a:spcAft>
        <a:defRPr sz="4000" b="1">
          <a:solidFill>
            <a:srgbClr val="C50022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609539" algn="l" rtl="0" fontAlgn="base">
        <a:spcBef>
          <a:spcPct val="110000"/>
        </a:spcBef>
        <a:spcAft>
          <a:spcPct val="110000"/>
        </a:spcAft>
        <a:defRPr sz="4000" b="1">
          <a:solidFill>
            <a:srgbClr val="C50022"/>
          </a:solidFill>
          <a:latin typeface="Arial" charset="0"/>
          <a:ea typeface="ＭＳ Ｐゴシック" charset="0"/>
          <a:cs typeface="Arial" charset="0"/>
        </a:defRPr>
      </a:lvl6pPr>
      <a:lvl7pPr marL="1219078" algn="l" rtl="0" fontAlgn="base">
        <a:spcBef>
          <a:spcPct val="110000"/>
        </a:spcBef>
        <a:spcAft>
          <a:spcPct val="110000"/>
        </a:spcAft>
        <a:defRPr sz="4000" b="1">
          <a:solidFill>
            <a:srgbClr val="C50022"/>
          </a:solidFill>
          <a:latin typeface="Arial" charset="0"/>
          <a:ea typeface="ＭＳ Ｐゴシック" charset="0"/>
          <a:cs typeface="Arial" charset="0"/>
        </a:defRPr>
      </a:lvl7pPr>
      <a:lvl8pPr marL="1828617" algn="l" rtl="0" fontAlgn="base">
        <a:spcBef>
          <a:spcPct val="110000"/>
        </a:spcBef>
        <a:spcAft>
          <a:spcPct val="110000"/>
        </a:spcAft>
        <a:defRPr sz="4000" b="1">
          <a:solidFill>
            <a:srgbClr val="C50022"/>
          </a:solidFill>
          <a:latin typeface="Arial" charset="0"/>
          <a:ea typeface="ＭＳ Ｐゴシック" charset="0"/>
          <a:cs typeface="Arial" charset="0"/>
        </a:defRPr>
      </a:lvl8pPr>
      <a:lvl9pPr marL="2438156" algn="l" rtl="0" fontAlgn="base">
        <a:spcBef>
          <a:spcPct val="110000"/>
        </a:spcBef>
        <a:spcAft>
          <a:spcPct val="110000"/>
        </a:spcAft>
        <a:defRPr sz="4000" b="1">
          <a:solidFill>
            <a:srgbClr val="C50022"/>
          </a:solidFill>
          <a:latin typeface="Arial" charset="0"/>
          <a:ea typeface="ＭＳ Ｐゴシック" charset="0"/>
          <a:cs typeface="Arial" charset="0"/>
        </a:defRPr>
      </a:lvl9pPr>
    </p:titleStyle>
    <p:bodyStyle>
      <a:lvl1pPr marL="457154" indent="-457154" algn="l" rtl="0" eaLnBrk="0" fontAlgn="base" hangingPunct="0">
        <a:lnSpc>
          <a:spcPct val="110000"/>
        </a:lnSpc>
        <a:spcBef>
          <a:spcPct val="0"/>
        </a:spcBef>
        <a:spcAft>
          <a:spcPct val="50000"/>
        </a:spcAft>
        <a:buClr>
          <a:schemeClr val="accent1"/>
        </a:buClr>
        <a:buFont typeface="Wingdings" panose="05000000000000000000" pitchFamily="2" charset="2"/>
        <a:buChar char="n"/>
        <a:defRPr sz="1866" kern="1200">
          <a:solidFill>
            <a:srgbClr val="000000"/>
          </a:solidFill>
          <a:latin typeface="Arial"/>
          <a:ea typeface="MS PGothic" panose="020B0600070205080204" pitchFamily="34" charset="-128"/>
          <a:cs typeface="Arial"/>
        </a:defRPr>
      </a:lvl1pPr>
      <a:lvl2pPr marL="990501" indent="-380962" algn="l" rtl="0" eaLnBrk="0" fontAlgn="base" hangingPunct="0">
        <a:lnSpc>
          <a:spcPct val="110000"/>
        </a:lnSpc>
        <a:spcBef>
          <a:spcPct val="0"/>
        </a:spcBef>
        <a:spcAft>
          <a:spcPct val="50000"/>
        </a:spcAft>
        <a:buClr>
          <a:schemeClr val="accent1"/>
        </a:buClr>
        <a:buFont typeface="Wingdings" panose="05000000000000000000" pitchFamily="2" charset="2"/>
        <a:buChar char="n"/>
        <a:defRPr sz="1866" kern="1200">
          <a:solidFill>
            <a:srgbClr val="000000"/>
          </a:solidFill>
          <a:latin typeface="Arial"/>
          <a:ea typeface="+mn-ea"/>
          <a:cs typeface="Arial"/>
        </a:defRPr>
      </a:lvl2pPr>
      <a:lvl3pPr marL="1523848" indent="-304770" algn="l" rtl="0" eaLnBrk="0" fontAlgn="base" hangingPunct="0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Char char="–"/>
        <a:defRPr sz="1866" kern="1200">
          <a:solidFill>
            <a:srgbClr val="000000"/>
          </a:solidFill>
          <a:latin typeface="Arial"/>
          <a:ea typeface="+mn-ea"/>
          <a:cs typeface="Arial"/>
        </a:defRPr>
      </a:lvl3pPr>
      <a:lvl4pPr marL="2133387" indent="-304770" algn="l" rtl="0" eaLnBrk="0" fontAlgn="base" hangingPunct="0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Char char="–"/>
        <a:defRPr sz="1866" kern="1200">
          <a:solidFill>
            <a:srgbClr val="000000"/>
          </a:solidFill>
          <a:latin typeface="Arial"/>
          <a:ea typeface="+mn-ea"/>
          <a:cs typeface="Arial"/>
        </a:defRPr>
      </a:lvl4pPr>
      <a:lvl5pPr marL="2742926" indent="-304770" algn="l" rtl="0" eaLnBrk="0" fontAlgn="base" hangingPunct="0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Char char="–"/>
        <a:defRPr sz="1866" kern="1200">
          <a:solidFill>
            <a:srgbClr val="000000"/>
          </a:solidFill>
          <a:latin typeface="Arial"/>
          <a:ea typeface="+mn-ea"/>
          <a:cs typeface="Arial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CE9524C9-5941-4A13-8664-AAC0F46BC9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97" r="33352"/>
          <a:stretch/>
        </p:blipFill>
        <p:spPr>
          <a:xfrm>
            <a:off x="5987005" y="-19549"/>
            <a:ext cx="6203408" cy="687754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C63D7C-BB75-483F-A777-B17B0941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1" imgH="472" progId="TCLayout.ActiveDocument.1">
                  <p:embed/>
                </p:oleObj>
              </mc:Choice>
              <mc:Fallback>
                <p:oleObj name="think-cell Slide" r:id="rId13" imgW="471" imgH="47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C63D7C-BB75-483F-A777-B17B0941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 userDrawn="1"/>
        </p:nvGrpSpPr>
        <p:grpSpPr>
          <a:xfrm>
            <a:off x="9597611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 userDrawn="1">
            <p:ph type="dt" sz="half" idx="2"/>
          </p:nvPr>
        </p:nvSpPr>
        <p:spPr>
          <a:xfrm>
            <a:off x="685760" y="6516409"/>
            <a:ext cx="468126" cy="175323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241C1E4-6261-49AD-9CC1-A5A5FFE2C017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23" name="Fußzeilenplatzhalter 6"/>
          <p:cNvSpPr>
            <a:spLocks noGrp="1"/>
          </p:cNvSpPr>
          <p:nvPr userDrawn="1">
            <p:ph type="ftr" sz="quarter" idx="3"/>
          </p:nvPr>
        </p:nvSpPr>
        <p:spPr>
          <a:xfrm>
            <a:off x="1368000" y="6516111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 userDrawn="1">
            <p:ph type="sldNum" sz="quarter" idx="4"/>
          </p:nvPr>
        </p:nvSpPr>
        <p:spPr>
          <a:xfrm>
            <a:off x="227013" y="6514799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18307" y="430443"/>
            <a:ext cx="11736385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987006" y="6451322"/>
            <a:ext cx="2164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1"/>
              </a:spcBef>
              <a:spcAft>
                <a:spcPts val="111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2400" dirty="0">
              <a:solidFill>
                <a:srgbClr val="C50022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EC64EB5-3739-41D1-9D4C-C15F12AC153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77857" y="6858002"/>
            <a:ext cx="3834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>
                <a:solidFill>
                  <a:srgbClr val="C50022"/>
                </a:solidFill>
                <a:sym typeface="Wingdings" panose="05000000000000000000" pitchFamily="2" charset="2"/>
              </a:rPr>
              <a:t></a:t>
            </a:r>
            <a:endParaRPr lang="de-DE" sz="1200" dirty="0">
              <a:solidFill>
                <a:srgbClr val="C50022"/>
              </a:solidFill>
            </a:endParaRPr>
          </a:p>
          <a:p>
            <a:pPr algn="ctr"/>
            <a:r>
              <a:rPr lang="de-DE" sz="1200" dirty="0">
                <a:solidFill>
                  <a:srgbClr val="C50022"/>
                </a:solidFill>
              </a:rPr>
              <a:t>Zur Angabe der Klassifizierung (VERTRAULICH etc.) </a:t>
            </a:r>
            <a:br>
              <a:rPr lang="de-DE" sz="1200" dirty="0">
                <a:solidFill>
                  <a:srgbClr val="C50022"/>
                </a:solidFill>
              </a:rPr>
            </a:br>
            <a:r>
              <a:rPr lang="de-DE" sz="1200" dirty="0">
                <a:solidFill>
                  <a:srgbClr val="C50022"/>
                </a:solidFill>
              </a:rPr>
              <a:t>bitte dieses Textfeld im Folienmaster verwend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6A44D0E-98E9-4043-9802-3A9437B2CF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1" y="1964565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586DD072-A0F5-4C87-9E3D-BCC45D461FF4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222028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</p:sldLayoutIdLst>
  <p:hf sldNum="0" hdr="0" ftr="0" dt="0"/>
  <p:txStyles>
    <p:titleStyle>
      <a:lvl1pPr algn="l" defTabSz="914309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866" indent="-342866" algn="l" defTabSz="914309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9067" indent="-361914" algn="l" defTabSz="914309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631" indent="-355564" algn="l" defTabSz="914309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3370" indent="-358739" algn="l" defTabSz="914309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349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4" pos="143">
          <p15:clr>
            <a:srgbClr val="F26B43"/>
          </p15:clr>
        </p15:guide>
        <p15:guide id="5" pos="7536">
          <p15:clr>
            <a:srgbClr val="F26B43"/>
          </p15:clr>
        </p15:guide>
        <p15:guide id="10" orient="horz" pos="1275">
          <p15:clr>
            <a:srgbClr val="F26B43"/>
          </p15:clr>
        </p15:guide>
        <p15:guide id="11" orient="horz" pos="417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747DCB24-CEC9-4DB4-A080-1A0FF6C156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8997697A-AD78-40E7-9DEC-79F1CD3E6568}" type="datetime1">
              <a:rPr lang="de-DE" smtClean="0"/>
              <a:t>23.09.2022</a:t>
            </a:fld>
            <a:endParaRPr lang="de-DE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110E367F-6670-448B-B3F2-314691D953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 Information</a:t>
            </a:r>
            <a:endParaRPr lang="de-DE" dirty="0"/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1E87725D-2DB2-44CF-800E-9531DE3AAD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4C5C020C-1805-40E4-BD20-80862E5DDA9D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069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</p:sldLayoutIdLst>
  <p:hf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143">
          <p15:clr>
            <a:srgbClr val="F26B43"/>
          </p15:clr>
        </p15:guide>
        <p15:guide id="3" pos="7536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14.jpg"/><Relationship Id="rId3" Type="http://schemas.openxmlformats.org/officeDocument/2006/relationships/tags" Target="../tags/tag114.xml"/><Relationship Id="rId7" Type="http://schemas.openxmlformats.org/officeDocument/2006/relationships/image" Target="../media/image11.tiff"/><Relationship Id="rId12" Type="http://schemas.openxmlformats.org/officeDocument/2006/relationships/image" Target="../media/image13.jpe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10.png"/><Relationship Id="rId11" Type="http://schemas.openxmlformats.org/officeDocument/2006/relationships/hyperlink" Target="mailto:robert.davis@basf.com" TargetMode="External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1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1.jpeg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10.png"/><Relationship Id="rId9" Type="http://schemas.openxmlformats.org/officeDocument/2006/relationships/image" Target="../media/image16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6" Type="http://schemas.openxmlformats.org/officeDocument/2006/relationships/image" Target="../media/image14.jpg"/><Relationship Id="rId5" Type="http://schemas.openxmlformats.org/officeDocument/2006/relationships/image" Target="../media/image33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6" Type="http://schemas.openxmlformats.org/officeDocument/2006/relationships/image" Target="../media/image16.jpg"/><Relationship Id="rId5" Type="http://schemas.openxmlformats.org/officeDocument/2006/relationships/image" Target="../media/image33.png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6.jpeg"/><Relationship Id="rId2" Type="http://schemas.openxmlformats.org/officeDocument/2006/relationships/audio" Target="../media/media13.m4a"/><Relationship Id="rId1" Type="http://schemas.microsoft.com/office/2007/relationships/media" Target="../media/media13.m4a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10" Type="http://schemas.openxmlformats.org/officeDocument/2006/relationships/image" Target="../media/image37.jpeg"/><Relationship Id="rId4" Type="http://schemas.openxmlformats.org/officeDocument/2006/relationships/image" Target="../media/image10.png"/><Relationship Id="rId9" Type="http://schemas.openxmlformats.org/officeDocument/2006/relationships/image" Target="../media/image14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6" Type="http://schemas.openxmlformats.org/officeDocument/2006/relationships/image" Target="../media/image16.jpg"/><Relationship Id="rId5" Type="http://schemas.openxmlformats.org/officeDocument/2006/relationships/image" Target="../media/image38.jpeg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14.jpg"/><Relationship Id="rId2" Type="http://schemas.openxmlformats.org/officeDocument/2006/relationships/audio" Target="../media/media15.m4a"/><Relationship Id="rId1" Type="http://schemas.microsoft.com/office/2007/relationships/media" Target="../media/media15.m4a"/><Relationship Id="rId6" Type="http://schemas.openxmlformats.org/officeDocument/2006/relationships/hyperlink" Target="mailto:robert.davis@basf.com" TargetMode="External"/><Relationship Id="rId5" Type="http://schemas.openxmlformats.org/officeDocument/2006/relationships/image" Target="../media/image39.png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16.mp4"/><Relationship Id="rId1" Type="http://schemas.microsoft.com/office/2007/relationships/media" Target="../media/media16.mp4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7.png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openxmlformats.org/officeDocument/2006/relationships/image" Target="../media/image16.jpg"/><Relationship Id="rId5" Type="http://schemas.openxmlformats.org/officeDocument/2006/relationships/image" Target="../media/image15.jpe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jpg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18.jpe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0.png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6" Type="http://schemas.openxmlformats.org/officeDocument/2006/relationships/image" Target="../media/image16.jp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jpg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6" Type="http://schemas.openxmlformats.org/officeDocument/2006/relationships/image" Target="../media/image21.pn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2.jpeg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6" Type="http://schemas.openxmlformats.org/officeDocument/2006/relationships/image" Target="../media/image13.jpe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jpg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6" Type="http://schemas.openxmlformats.org/officeDocument/2006/relationships/image" Target="../media/image23.jpe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6.jpg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6" Type="http://schemas.openxmlformats.org/officeDocument/2006/relationships/image" Target="../media/image21.png"/><Relationship Id="rId5" Type="http://schemas.openxmlformats.org/officeDocument/2006/relationships/image" Target="../media/image24.jpe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6.jpeg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10" Type="http://schemas.openxmlformats.org/officeDocument/2006/relationships/image" Target="../media/image14.jpg"/><Relationship Id="rId4" Type="http://schemas.openxmlformats.org/officeDocument/2006/relationships/image" Target="../media/image10.png"/><Relationship Id="rId9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ED87FF34-1FA2-4ABC-B7C8-ECC6FBE98CB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5436976" y="5470044"/>
            <a:ext cx="812694" cy="81269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ED87CC2-AA7B-4986-8A4E-712FB0CFDE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893"/>
            <a:ext cx="12190413" cy="6857107"/>
          </a:xfrm>
          <a:prstGeom prst="rect">
            <a:avLst/>
          </a:prstGeom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937230EF-8B09-4D91-8857-41E7692F180D}"/>
              </a:ext>
            </a:extLst>
          </p:cNvPr>
          <p:cNvGrpSpPr/>
          <p:nvPr/>
        </p:nvGrpSpPr>
        <p:grpSpPr>
          <a:xfrm>
            <a:off x="-10103901" y="864000"/>
            <a:ext cx="16199999" cy="1080000"/>
            <a:chOff x="6137407" y="3368287"/>
            <a:chExt cx="16199999" cy="1080000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B80DEE4B-2661-4D61-B4CF-275BC05AE3D1}"/>
                </a:ext>
              </a:extLst>
            </p:cNvPr>
            <p:cNvGrpSpPr/>
            <p:nvPr/>
          </p:nvGrpSpPr>
          <p:grpSpPr>
            <a:xfrm>
              <a:off x="6137407" y="3368287"/>
              <a:ext cx="16199999" cy="1080000"/>
              <a:chOff x="-6603521" y="864000"/>
              <a:chExt cx="16199999" cy="1080000"/>
            </a:xfrm>
          </p:grpSpPr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id="{ED149482-9A68-4F7C-9BA0-9987A58373ED}"/>
                  </a:ext>
                </a:extLst>
              </p:cNvPr>
              <p:cNvSpPr/>
              <p:nvPr userDrawn="1"/>
            </p:nvSpPr>
            <p:spPr>
              <a:xfrm>
                <a:off x="-6603521" y="864000"/>
                <a:ext cx="16199999" cy="1080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cs typeface="Arial"/>
                </a:endParaRPr>
              </a:p>
            </p:txBody>
          </p:sp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9E23EBA4-1E94-461D-B840-A117984522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6337644" y="1137683"/>
                <a:ext cx="1619425" cy="586722"/>
              </a:xfrm>
              <a:prstGeom prst="rect">
                <a:avLst/>
              </a:prstGeom>
            </p:spPr>
          </p:pic>
        </p:grp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D3FF5D18-C952-4D2B-A6C0-42C94254B1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016070-25D5-49DA-8FA2-E4BF9CDB67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EA1D04-CA53-4DE3-84A8-2B63E41036C9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8" name="Titel 61">
            <a:extLst>
              <a:ext uri="{FF2B5EF4-FFF2-40B4-BE49-F238E27FC236}">
                <a16:creationId xmlns:a16="http://schemas.microsoft.com/office/drawing/2014/main" id="{69F6C9A3-4100-4453-BE04-1DD140ECF5FA}"/>
              </a:ext>
            </a:extLst>
          </p:cNvPr>
          <p:cNvSpPr txBox="1">
            <a:spLocks/>
          </p:cNvSpPr>
          <p:nvPr/>
        </p:nvSpPr>
        <p:spPr>
          <a:xfrm>
            <a:off x="215872" y="2186957"/>
            <a:ext cx="6535738" cy="1351451"/>
          </a:xfrm>
          <a:prstGeom prst="rect">
            <a:avLst/>
          </a:prstGeom>
        </p:spPr>
        <p:txBody>
          <a:bodyPr rtlCol="0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1" dirty="0">
                <a:solidFill>
                  <a:schemeClr val="accent1"/>
                </a:solidFill>
              </a:rPr>
              <a:t>Trelona</a:t>
            </a:r>
            <a:r>
              <a:rPr lang="en-US" sz="3200" b="1" baseline="30000" dirty="0">
                <a:solidFill>
                  <a:schemeClr val="accent1"/>
                </a:solidFill>
              </a:rPr>
              <a:t>®</a:t>
            </a:r>
            <a:r>
              <a:rPr lang="en-US" sz="3200" b="1" dirty="0">
                <a:solidFill>
                  <a:schemeClr val="accent1"/>
                </a:solidFill>
              </a:rPr>
              <a:t> ATBS</a:t>
            </a:r>
            <a:br>
              <a:rPr lang="en-US" sz="3200" b="1" dirty="0">
                <a:solidFill>
                  <a:schemeClr val="accent1"/>
                </a:solidFill>
              </a:rPr>
            </a:br>
            <a:r>
              <a:rPr lang="en-US" sz="3200" b="1" dirty="0">
                <a:solidFill>
                  <a:schemeClr val="accent1"/>
                </a:solidFill>
              </a:rPr>
              <a:t>Annual Bait Stations</a:t>
            </a:r>
            <a:br>
              <a:rPr lang="en-US" sz="5333" dirty="0">
                <a:solidFill>
                  <a:schemeClr val="accent1"/>
                </a:solidFill>
              </a:rPr>
            </a:br>
            <a:endParaRPr lang="de-DE" sz="5333" dirty="0">
              <a:solidFill>
                <a:schemeClr val="accent1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E742944-46F7-41E7-B706-E7DEB84C51B7}"/>
              </a:ext>
            </a:extLst>
          </p:cNvPr>
          <p:cNvSpPr txBox="1">
            <a:spLocks/>
          </p:cNvSpPr>
          <p:nvPr/>
        </p:nvSpPr>
        <p:spPr>
          <a:xfrm>
            <a:off x="215872" y="3023800"/>
            <a:ext cx="9815822" cy="2112013"/>
          </a:xfrm>
          <a:prstGeom prst="rect">
            <a:avLst/>
          </a:prstGeo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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 3" panose="05040102010807070707" pitchFamily="18" charset="2"/>
              <a:buChar char="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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dirty="0">
              <a:solidFill>
                <a:schemeClr val="accent1"/>
              </a:solidFill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400" b="1" dirty="0">
                <a:solidFill>
                  <a:schemeClr val="accent1"/>
                </a:solidFill>
              </a:rPr>
              <a:t>Keys to Succes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400" b="1" dirty="0">
                <a:solidFill>
                  <a:schemeClr val="accent1"/>
                </a:solidFill>
              </a:rPr>
              <a:t>System and Station Inspec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E43A05-867C-40A5-B976-10734562C93C}"/>
              </a:ext>
            </a:extLst>
          </p:cNvPr>
          <p:cNvSpPr txBox="1"/>
          <p:nvPr/>
        </p:nvSpPr>
        <p:spPr>
          <a:xfrm>
            <a:off x="1448845" y="4801583"/>
            <a:ext cx="4999102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Dr. Bob Davis</a:t>
            </a:r>
          </a:p>
          <a:p>
            <a:pPr defTabSz="121907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Technical Services Representative</a:t>
            </a:r>
          </a:p>
          <a:p>
            <a:pPr defTabSz="121907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BASF Professional &amp; Specialty Solutions</a:t>
            </a:r>
          </a:p>
          <a:p>
            <a:pPr defTabSz="1219078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  <a:hlinkClick r:id="rId11"/>
              </a:rPr>
              <a:t>robert.davis@basf.com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defTabSz="1219078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B26BEDA-F8C5-43A6-B313-C8000E5AA07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717" y="4683088"/>
            <a:ext cx="1203491" cy="179178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37048141-F42C-4014-8CB4-39D84628DB64}"/>
              </a:ext>
            </a:extLst>
          </p:cNvPr>
          <p:cNvGrpSpPr/>
          <p:nvPr/>
        </p:nvGrpSpPr>
        <p:grpSpPr>
          <a:xfrm>
            <a:off x="10384122" y="3893949"/>
            <a:ext cx="1747327" cy="2901318"/>
            <a:chOff x="7647877" y="2987566"/>
            <a:chExt cx="1310666" cy="217627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6FD2EE9E-C0DC-446B-BCC0-83D6F8A7C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555" y="2987566"/>
              <a:ext cx="1296988" cy="2176272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027CD36-BFA2-44AD-9A27-3742922F3960}"/>
                </a:ext>
              </a:extLst>
            </p:cNvPr>
            <p:cNvSpPr txBox="1"/>
            <p:nvPr/>
          </p:nvSpPr>
          <p:spPr>
            <a:xfrm>
              <a:off x="7647877" y="2987566"/>
              <a:ext cx="1277938" cy="715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0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66" dirty="0">
                  <a:solidFill>
                    <a:srgbClr val="C50022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Click on slide or down arrow ke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1143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35745" fill="hold"/>
                                        <p:tgtEl>
                                          <p:spTgt spid="2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7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00535029-F74C-4194-BAF0-B9A9E2B8A95B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688859" y="3022653"/>
            <a:ext cx="812694" cy="81269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9FC35-2549-4CED-8643-48536D86C324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r>
              <a:rPr lang="en-US" dirty="0"/>
              <a:t>Service station</a:t>
            </a:r>
          </a:p>
          <a:p>
            <a:pPr lvl="1"/>
            <a:r>
              <a:rPr lang="en-US" dirty="0"/>
              <a:t>Inspect TBC’s for activity and/or feeding activity</a:t>
            </a:r>
          </a:p>
          <a:p>
            <a:pPr lvl="2"/>
            <a:r>
              <a:rPr lang="en-US" dirty="0"/>
              <a:t>Replace cartridges with &gt;1/3 of bait removed.</a:t>
            </a:r>
          </a:p>
          <a:p>
            <a:pPr lvl="1"/>
            <a:r>
              <a:rPr lang="en-US" dirty="0"/>
              <a:t>Document your findings (hard copy or digital options)</a:t>
            </a:r>
          </a:p>
          <a:p>
            <a:pPr lvl="1"/>
            <a:r>
              <a:rPr lang="en-US" dirty="0"/>
              <a:t>If needed, clean debris out of station to allow TBC’s to be inserted.</a:t>
            </a:r>
          </a:p>
          <a:p>
            <a:pPr lvl="1"/>
            <a:r>
              <a:rPr lang="en-US" dirty="0"/>
              <a:t>Place TBC’s in st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D69AD87-51DF-4988-9169-BEA5DDB36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72" y="358117"/>
            <a:ext cx="10266734" cy="1343908"/>
          </a:xfrm>
        </p:spPr>
        <p:txBody>
          <a:bodyPr/>
          <a:lstStyle/>
          <a:p>
            <a:r>
              <a:rPr lang="en-US" dirty="0"/>
              <a:t>Inspecting &amp; Servicing </a:t>
            </a:r>
            <a:r>
              <a:rPr lang="en-US" dirty="0" err="1"/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/>
              <a:t> ATBS Annual Bait Station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A7375B4-2B68-4EED-93A1-81BFA391209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376" y="2123370"/>
            <a:ext cx="4704737" cy="3136490"/>
          </a:xfrm>
          <a:ln>
            <a:solidFill>
              <a:schemeClr val="tx1"/>
            </a:solidFill>
          </a:ln>
        </p:spPr>
      </p:pic>
      <p:pic>
        <p:nvPicPr>
          <p:cNvPr id="9" name="Content Placeholder 11">
            <a:extLst>
              <a:ext uri="{FF2B5EF4-FFF2-40B4-BE49-F238E27FC236}">
                <a16:creationId xmlns:a16="http://schemas.microsoft.com/office/drawing/2014/main" id="{EF1451C5-DB67-49D5-A783-9E370F6329B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32376" y="2123370"/>
            <a:ext cx="4704737" cy="313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Content Placeholder 6">
            <a:extLst>
              <a:ext uri="{FF2B5EF4-FFF2-40B4-BE49-F238E27FC236}">
                <a16:creationId xmlns:a16="http://schemas.microsoft.com/office/drawing/2014/main" id="{409C2367-FC85-4126-A77C-7D05703093F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66092" y="2123370"/>
            <a:ext cx="4704737" cy="3078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Content Placeholder 7">
            <a:extLst>
              <a:ext uri="{FF2B5EF4-FFF2-40B4-BE49-F238E27FC236}">
                <a16:creationId xmlns:a16="http://schemas.microsoft.com/office/drawing/2014/main" id="{647C2A86-4096-49A4-893B-D83F771D377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9235" y="2123370"/>
            <a:ext cx="4704737" cy="313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46" name="Group 945">
            <a:extLst>
              <a:ext uri="{FF2B5EF4-FFF2-40B4-BE49-F238E27FC236}">
                <a16:creationId xmlns:a16="http://schemas.microsoft.com/office/drawing/2014/main" id="{75541A54-63AD-44BB-A49D-A1DA8439128E}"/>
              </a:ext>
            </a:extLst>
          </p:cNvPr>
          <p:cNvGrpSpPr/>
          <p:nvPr/>
        </p:nvGrpSpPr>
        <p:grpSpPr>
          <a:xfrm>
            <a:off x="10151671" y="3044603"/>
            <a:ext cx="1801749" cy="2258307"/>
            <a:chOff x="7679977" y="3471347"/>
            <a:chExt cx="1286256" cy="1693951"/>
          </a:xfrm>
        </p:grpSpPr>
        <p:sp>
          <p:nvSpPr>
            <p:cNvPr id="947" name="TextBox 946">
              <a:extLst>
                <a:ext uri="{FF2B5EF4-FFF2-40B4-BE49-F238E27FC236}">
                  <a16:creationId xmlns:a16="http://schemas.microsoft.com/office/drawing/2014/main" id="{30FC0F33-B314-47AD-A2BC-50E79243FA7B}"/>
                </a:ext>
              </a:extLst>
            </p:cNvPr>
            <p:cNvSpPr txBox="1"/>
            <p:nvPr/>
          </p:nvSpPr>
          <p:spPr>
            <a:xfrm>
              <a:off x="7688295" y="3471347"/>
              <a:ext cx="1277938" cy="7153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  <p:pic>
          <p:nvPicPr>
            <p:cNvPr id="948" name="Picture 947">
              <a:extLst>
                <a:ext uri="{FF2B5EF4-FFF2-40B4-BE49-F238E27FC236}">
                  <a16:creationId xmlns:a16="http://schemas.microsoft.com/office/drawing/2014/main" id="{1DC26326-5994-4017-AF2E-E0689FC47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9977" y="4153362"/>
              <a:ext cx="1286256" cy="10119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63651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6899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2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5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26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80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48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48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9600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27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27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3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24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5F900775-1985-4434-B035-A29E432DDB6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272977" y="3022653"/>
            <a:ext cx="812694" cy="81269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9FC35-2549-4CED-8643-48536D86C324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r>
              <a:rPr lang="en-US" dirty="0"/>
              <a:t>When to replace the TBC’s?</a:t>
            </a:r>
          </a:p>
          <a:p>
            <a:pPr lvl="1"/>
            <a:r>
              <a:rPr lang="en-US" dirty="0"/>
              <a:t>Best Practices – Cartridge Replacement </a:t>
            </a:r>
          </a:p>
          <a:p>
            <a:pPr lvl="1"/>
            <a:r>
              <a:rPr lang="en-US" dirty="0"/>
              <a:t>Replace when:</a:t>
            </a:r>
          </a:p>
          <a:p>
            <a:pPr lvl="2"/>
            <a:r>
              <a:rPr lang="en-US" dirty="0"/>
              <a:t>&gt;1/3 of the bait within a cartridge has been consumed or removed.</a:t>
            </a:r>
          </a:p>
          <a:p>
            <a:pPr lvl="2"/>
            <a:r>
              <a:rPr lang="en-US" dirty="0"/>
              <a:t>Bait tablets have a soft gelatinous/ slimy consistency.</a:t>
            </a:r>
          </a:p>
          <a:p>
            <a:pPr lvl="2"/>
            <a:r>
              <a:rPr lang="en-US" dirty="0"/>
              <a:t>Tablets are falling apart due to decomposition (granular appearance).</a:t>
            </a:r>
          </a:p>
          <a:p>
            <a:pPr marL="609539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D69AD87-51DF-4988-9169-BEA5DDB36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72" y="358117"/>
            <a:ext cx="10379856" cy="1343908"/>
          </a:xfrm>
        </p:spPr>
        <p:txBody>
          <a:bodyPr/>
          <a:lstStyle/>
          <a:p>
            <a:r>
              <a:rPr lang="en-US" dirty="0"/>
              <a:t>Inspecting &amp; Servicing </a:t>
            </a:r>
            <a:r>
              <a:rPr lang="en-US" dirty="0" err="1"/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/>
              <a:t> ATBS Annual Bait Stations</a:t>
            </a:r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26C92154-D5C2-46B5-82E2-9F2875A6744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/>
          <a:stretch>
            <a:fillRect/>
          </a:stretch>
        </p:blipFill>
        <p:spPr>
          <a:xfrm>
            <a:off x="5984233" y="1871336"/>
            <a:ext cx="3390184" cy="4607384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947" name="Group 946">
            <a:extLst>
              <a:ext uri="{FF2B5EF4-FFF2-40B4-BE49-F238E27FC236}">
                <a16:creationId xmlns:a16="http://schemas.microsoft.com/office/drawing/2014/main" id="{9FFDD674-D637-43D6-8D04-630E5AC62094}"/>
              </a:ext>
            </a:extLst>
          </p:cNvPr>
          <p:cNvGrpSpPr/>
          <p:nvPr/>
        </p:nvGrpSpPr>
        <p:grpSpPr>
          <a:xfrm>
            <a:off x="10167589" y="3050093"/>
            <a:ext cx="1728444" cy="2901318"/>
            <a:chOff x="7647877" y="2987566"/>
            <a:chExt cx="1310666" cy="2176272"/>
          </a:xfrm>
        </p:grpSpPr>
        <p:pic>
          <p:nvPicPr>
            <p:cNvPr id="948" name="Picture 947">
              <a:extLst>
                <a:ext uri="{FF2B5EF4-FFF2-40B4-BE49-F238E27FC236}">
                  <a16:creationId xmlns:a16="http://schemas.microsoft.com/office/drawing/2014/main" id="{CFD9DD3F-A8BF-40AB-A62E-A764FB7CAA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555" y="2987566"/>
              <a:ext cx="1296988" cy="2176272"/>
            </a:xfrm>
            <a:prstGeom prst="rect">
              <a:avLst/>
            </a:prstGeom>
          </p:spPr>
        </p:pic>
        <p:sp>
          <p:nvSpPr>
            <p:cNvPr id="949" name="TextBox 948">
              <a:extLst>
                <a:ext uri="{FF2B5EF4-FFF2-40B4-BE49-F238E27FC236}">
                  <a16:creationId xmlns:a16="http://schemas.microsoft.com/office/drawing/2014/main" id="{06036577-A13A-4CE6-8FA6-9836FF2475CB}"/>
                </a:ext>
              </a:extLst>
            </p:cNvPr>
            <p:cNvSpPr txBox="1"/>
            <p:nvPr/>
          </p:nvSpPr>
          <p:spPr>
            <a:xfrm>
              <a:off x="7647877" y="2987566"/>
              <a:ext cx="1277938" cy="715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3519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252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90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13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20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1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600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2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80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25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E5491A5C-0446-4357-92B7-B4BDAAD5891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991972" y="3022653"/>
            <a:ext cx="812694" cy="81269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9FC35-2549-4CED-8643-48536D86C32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5972" y="1872203"/>
            <a:ext cx="5768261" cy="4607400"/>
          </a:xfrm>
        </p:spPr>
        <p:txBody>
          <a:bodyPr/>
          <a:lstStyle/>
          <a:p>
            <a:r>
              <a:rPr lang="en-US" dirty="0"/>
              <a:t>When not to replace the TBC’s?</a:t>
            </a:r>
          </a:p>
          <a:p>
            <a:pPr lvl="1"/>
            <a:r>
              <a:rPr lang="en-US" dirty="0"/>
              <a:t>Best Practices – Cartridge Replacement </a:t>
            </a:r>
          </a:p>
          <a:p>
            <a:pPr lvl="1"/>
            <a:r>
              <a:rPr lang="en-US" dirty="0"/>
              <a:t>Do not replace:</a:t>
            </a:r>
          </a:p>
          <a:p>
            <a:pPr lvl="2"/>
            <a:r>
              <a:rPr lang="en-US" dirty="0"/>
              <a:t>When &lt;1/3 of the bait within a cartridge has been consumed or removed.</a:t>
            </a:r>
          </a:p>
          <a:p>
            <a:pPr lvl="2"/>
            <a:r>
              <a:rPr lang="en-US" dirty="0"/>
              <a:t>Mold, mildew, fungus, etc., are on or covering the tablets.</a:t>
            </a:r>
          </a:p>
          <a:p>
            <a:pPr lvl="2"/>
            <a:r>
              <a:rPr lang="en-US" dirty="0"/>
              <a:t>Slugs, snails, worms, ants, snakes, etc., are associated with the cartridges.</a:t>
            </a:r>
          </a:p>
          <a:p>
            <a:pPr lvl="2"/>
            <a:r>
              <a:rPr lang="en-US" dirty="0"/>
              <a:t>Pest control products or fertilizers are applied over top of station.</a:t>
            </a:r>
          </a:p>
          <a:p>
            <a:pPr lvl="2"/>
            <a:endParaRPr lang="en-US" dirty="0"/>
          </a:p>
          <a:p>
            <a:pPr lvl="1"/>
            <a:r>
              <a:rPr lang="en-US" dirty="0"/>
              <a:t> </a:t>
            </a:r>
          </a:p>
          <a:p>
            <a:pPr lvl="1"/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D69AD87-51DF-4988-9169-BEA5DDB36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72" y="358117"/>
            <a:ext cx="10408136" cy="1343908"/>
          </a:xfrm>
        </p:spPr>
        <p:txBody>
          <a:bodyPr/>
          <a:lstStyle/>
          <a:p>
            <a:r>
              <a:rPr lang="en-US" dirty="0"/>
              <a:t>Inspecting &amp; Servicing </a:t>
            </a:r>
            <a:r>
              <a:rPr lang="en-US" dirty="0" err="1"/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/>
              <a:t> ATBS Annual Bait Stations</a:t>
            </a:r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26C92154-D5C2-46B5-82E2-9F2875A6744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/>
          <a:stretch>
            <a:fillRect/>
          </a:stretch>
        </p:blipFill>
        <p:spPr>
          <a:xfrm>
            <a:off x="5984233" y="1871336"/>
            <a:ext cx="3390184" cy="4607384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941" name="Group 940">
            <a:extLst>
              <a:ext uri="{FF2B5EF4-FFF2-40B4-BE49-F238E27FC236}">
                <a16:creationId xmlns:a16="http://schemas.microsoft.com/office/drawing/2014/main" id="{E703B01D-7949-42DE-9132-3603434AD8E4}"/>
              </a:ext>
            </a:extLst>
          </p:cNvPr>
          <p:cNvGrpSpPr/>
          <p:nvPr/>
        </p:nvGrpSpPr>
        <p:grpSpPr>
          <a:xfrm>
            <a:off x="10151671" y="3044603"/>
            <a:ext cx="1801749" cy="2258307"/>
            <a:chOff x="7679977" y="3471347"/>
            <a:chExt cx="1286256" cy="1693951"/>
          </a:xfrm>
        </p:grpSpPr>
        <p:sp>
          <p:nvSpPr>
            <p:cNvPr id="942" name="TextBox 941">
              <a:extLst>
                <a:ext uri="{FF2B5EF4-FFF2-40B4-BE49-F238E27FC236}">
                  <a16:creationId xmlns:a16="http://schemas.microsoft.com/office/drawing/2014/main" id="{77E9C1C2-C5C6-4727-A763-B2D3DE34EEB7}"/>
                </a:ext>
              </a:extLst>
            </p:cNvPr>
            <p:cNvSpPr txBox="1"/>
            <p:nvPr/>
          </p:nvSpPr>
          <p:spPr>
            <a:xfrm>
              <a:off x="7688295" y="3471347"/>
              <a:ext cx="1277938" cy="7153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  <p:pic>
          <p:nvPicPr>
            <p:cNvPr id="943" name="Picture 942">
              <a:extLst>
                <a:ext uri="{FF2B5EF4-FFF2-40B4-BE49-F238E27FC236}">
                  <a16:creationId xmlns:a16="http://schemas.microsoft.com/office/drawing/2014/main" id="{6B3B6DB1-ECC0-4543-BF41-CDEC6EC9A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9977" y="4153362"/>
              <a:ext cx="1286256" cy="10119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9108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1682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90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8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19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9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9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8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20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A9B3B87F-E6F0-4EF3-BE0B-EDC27934FF1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688859" y="3022653"/>
            <a:ext cx="812694" cy="81269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9FC35-2549-4CED-8643-48536D86C324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r>
              <a:rPr lang="en-US" dirty="0"/>
              <a:t>Service station</a:t>
            </a:r>
          </a:p>
          <a:p>
            <a:pPr lvl="1"/>
            <a:r>
              <a:rPr lang="en-US" dirty="0"/>
              <a:t>If needed, use brush to remove debris from station top to allow lid to close securely. </a:t>
            </a:r>
          </a:p>
          <a:p>
            <a:pPr lvl="1"/>
            <a:r>
              <a:rPr lang="en-US" dirty="0"/>
              <a:t>Replace lid on station top with Spider tool. </a:t>
            </a:r>
          </a:p>
          <a:p>
            <a:pPr lvl="1"/>
            <a:r>
              <a:rPr lang="en-US" dirty="0"/>
              <a:t>If needed, treat around station with granular ant bait. </a:t>
            </a:r>
          </a:p>
          <a:p>
            <a:pPr lvl="1"/>
            <a:r>
              <a:rPr lang="en-US" dirty="0"/>
              <a:t>All done! Move on to next station and continue until all stations inspected.</a:t>
            </a:r>
          </a:p>
          <a:p>
            <a:pPr lvl="1"/>
            <a:r>
              <a:rPr lang="en-US" dirty="0"/>
              <a:t>Make concerted effort to inspect structure!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D69AD87-51DF-4988-9169-BEA5DDB36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71" y="358117"/>
            <a:ext cx="10210173" cy="1343908"/>
          </a:xfrm>
        </p:spPr>
        <p:txBody>
          <a:bodyPr/>
          <a:lstStyle/>
          <a:p>
            <a:r>
              <a:rPr lang="en-US" dirty="0"/>
              <a:t>Inspecting &amp; Servicing </a:t>
            </a:r>
            <a:r>
              <a:rPr lang="en-US" dirty="0" err="1"/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/>
              <a:t> ATBS Annual Bait Stations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E888B92B-B710-4F64-80D7-7F6AEADE420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6957" y="2088435"/>
            <a:ext cx="4704737" cy="2886885"/>
          </a:xfrm>
        </p:spPr>
      </p:pic>
      <p:pic>
        <p:nvPicPr>
          <p:cNvPr id="13" name="Content Placeholder 6">
            <a:extLst>
              <a:ext uri="{FF2B5EF4-FFF2-40B4-BE49-F238E27FC236}">
                <a16:creationId xmlns:a16="http://schemas.microsoft.com/office/drawing/2014/main" id="{D59DF755-DF55-4248-AF69-9338B1B0FD2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26957" y="2088435"/>
            <a:ext cx="4704737" cy="313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Content Placeholder 7">
            <a:extLst>
              <a:ext uri="{FF2B5EF4-FFF2-40B4-BE49-F238E27FC236}">
                <a16:creationId xmlns:a16="http://schemas.microsoft.com/office/drawing/2014/main" id="{806DD913-A8DB-46B1-A087-CA8DE7C80B4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26957" y="2088435"/>
            <a:ext cx="4704737" cy="3136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1AF6BFED-15AF-43E5-8B68-1E69E817882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26957" y="2088013"/>
            <a:ext cx="4704737" cy="313691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930C2123-6CA3-455D-B81D-CD7EB67F0B31}"/>
              </a:ext>
            </a:extLst>
          </p:cNvPr>
          <p:cNvGrpSpPr/>
          <p:nvPr/>
        </p:nvGrpSpPr>
        <p:grpSpPr>
          <a:xfrm>
            <a:off x="10167589" y="3050097"/>
            <a:ext cx="1728444" cy="2901318"/>
            <a:chOff x="7647877" y="2987566"/>
            <a:chExt cx="1310666" cy="217627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F8B4790-A195-4555-9A27-CBC6AF7BC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555" y="2987566"/>
              <a:ext cx="1296988" cy="2176272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AEF47EE-CC04-4C8F-970F-2BAA5B408AD5}"/>
                </a:ext>
              </a:extLst>
            </p:cNvPr>
            <p:cNvSpPr txBox="1"/>
            <p:nvPr/>
          </p:nvSpPr>
          <p:spPr>
            <a:xfrm>
              <a:off x="7647877" y="2987566"/>
              <a:ext cx="1277938" cy="715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</p:grp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BEF36EDF-541A-4399-92BF-F3334EB6419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57" y="273538"/>
            <a:ext cx="1668383" cy="250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075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028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18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18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25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25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39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39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50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80281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D42F58B9-1771-4B82-A865-61C8E88EF44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272978" y="3148761"/>
            <a:ext cx="812694" cy="81269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7293EF-3F6E-4264-8B77-3A46E3D5F3B1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r>
              <a:rPr lang="en-US" dirty="0"/>
              <a:t>Return all inspection tools and items to the service vehicle.</a:t>
            </a:r>
          </a:p>
          <a:p>
            <a:r>
              <a:rPr lang="en-US" dirty="0"/>
              <a:t>Install new or relocate </a:t>
            </a:r>
            <a:r>
              <a:rPr lang="en-US" dirty="0" err="1"/>
              <a:t>Trelona</a:t>
            </a:r>
            <a:r>
              <a:rPr lang="en-US" dirty="0"/>
              <a:t> ATBS Annual Bait Stations as needed</a:t>
            </a:r>
          </a:p>
          <a:p>
            <a:r>
              <a:rPr lang="en-US" dirty="0"/>
              <a:t>Complete remainder of site inspection services. </a:t>
            </a:r>
          </a:p>
          <a:p>
            <a:r>
              <a:rPr lang="en-US" dirty="0"/>
              <a:t>Perform a closing walk around to verify all items retrieved, etc.</a:t>
            </a:r>
          </a:p>
          <a:p>
            <a:r>
              <a:rPr lang="en-US" dirty="0"/>
              <a:t>Complete all paperwork, etc.</a:t>
            </a:r>
          </a:p>
          <a:p>
            <a:r>
              <a:rPr lang="en-US" dirty="0"/>
              <a:t>Close service with occupants (if present)</a:t>
            </a:r>
          </a:p>
          <a:p>
            <a:r>
              <a:rPr lang="en-US" dirty="0"/>
              <a:t>On to the next service!</a:t>
            </a:r>
          </a:p>
          <a:p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511DE11-B693-4680-B14B-F91A8877D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71" y="358117"/>
            <a:ext cx="10153613" cy="1343908"/>
          </a:xfrm>
        </p:spPr>
        <p:txBody>
          <a:bodyPr/>
          <a:lstStyle/>
          <a:p>
            <a:r>
              <a:rPr lang="en-US" dirty="0"/>
              <a:t>Inspecting &amp; Servicing </a:t>
            </a:r>
            <a:r>
              <a:rPr lang="en-US" dirty="0" err="1"/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/>
              <a:t> ATBS Annual Bait Stations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98FD9F7A-0F0A-42DC-A1F5-7F2701EFFD9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0141" y="2034054"/>
            <a:ext cx="4704737" cy="3947397"/>
          </a:xfrm>
          <a:ln>
            <a:solidFill>
              <a:schemeClr val="tx1"/>
            </a:solidFill>
          </a:ln>
        </p:spPr>
      </p:pic>
      <p:grpSp>
        <p:nvGrpSpPr>
          <p:cNvPr id="941" name="Group 940">
            <a:extLst>
              <a:ext uri="{FF2B5EF4-FFF2-40B4-BE49-F238E27FC236}">
                <a16:creationId xmlns:a16="http://schemas.microsoft.com/office/drawing/2014/main" id="{635F2CC9-6D9C-4AF5-8987-5D313B49BE7F}"/>
              </a:ext>
            </a:extLst>
          </p:cNvPr>
          <p:cNvGrpSpPr/>
          <p:nvPr/>
        </p:nvGrpSpPr>
        <p:grpSpPr>
          <a:xfrm>
            <a:off x="10151671" y="3054031"/>
            <a:ext cx="1801749" cy="2258307"/>
            <a:chOff x="7679977" y="3471347"/>
            <a:chExt cx="1286256" cy="1693951"/>
          </a:xfrm>
        </p:grpSpPr>
        <p:sp>
          <p:nvSpPr>
            <p:cNvPr id="942" name="TextBox 941">
              <a:extLst>
                <a:ext uri="{FF2B5EF4-FFF2-40B4-BE49-F238E27FC236}">
                  <a16:creationId xmlns:a16="http://schemas.microsoft.com/office/drawing/2014/main" id="{4F79F655-A32B-49B0-A7B7-FF9618520BAB}"/>
                </a:ext>
              </a:extLst>
            </p:cNvPr>
            <p:cNvSpPr txBox="1"/>
            <p:nvPr/>
          </p:nvSpPr>
          <p:spPr>
            <a:xfrm>
              <a:off x="7688295" y="3471347"/>
              <a:ext cx="1277938" cy="7153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  <p:pic>
          <p:nvPicPr>
            <p:cNvPr id="943" name="Picture 942">
              <a:extLst>
                <a:ext uri="{FF2B5EF4-FFF2-40B4-BE49-F238E27FC236}">
                  <a16:creationId xmlns:a16="http://schemas.microsoft.com/office/drawing/2014/main" id="{B66565AC-CEAC-4316-82E7-728A78F0CE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9977" y="4153362"/>
              <a:ext cx="1286256" cy="10119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61052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277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40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15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50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450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900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600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43AE618A-FB35-469D-BDF4-12AA63D1041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499853" y="5510124"/>
            <a:ext cx="812694" cy="81269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17A50D3-D4B0-448A-822D-F7B6DAED9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Thank You!</a:t>
            </a:r>
            <a:br>
              <a:rPr lang="en-US" altLang="en-US" dirty="0"/>
            </a:br>
            <a:endParaRPr lang="en-US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2C062FC-0D4F-402C-864B-05373DE9DEDD}"/>
              </a:ext>
            </a:extLst>
          </p:cNvPr>
          <p:cNvSpPr txBox="1">
            <a:spLocks/>
          </p:cNvSpPr>
          <p:nvPr/>
        </p:nvSpPr>
        <p:spPr>
          <a:xfrm>
            <a:off x="71308" y="941529"/>
            <a:ext cx="5636815" cy="2922718"/>
          </a:xfrm>
          <a:prstGeom prst="rect">
            <a:avLst/>
          </a:prstGeom>
        </p:spPr>
        <p:txBody>
          <a:bodyPr>
            <a:noAutofit/>
          </a:bodyPr>
          <a:lstStyle>
            <a:lvl1pPr marL="342892" indent="-342892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defRPr sz="1500" kern="1200">
                <a:solidFill>
                  <a:srgbClr val="000000"/>
                </a:solidFill>
                <a:latin typeface="Arial"/>
                <a:ea typeface="MS PGothic" panose="020B0600070205080204" pitchFamily="34" charset="-128"/>
                <a:cs typeface="Arial"/>
              </a:defRPr>
            </a:lvl1pPr>
            <a:lvl2pPr marL="742931" indent="-285743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defRPr sz="15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1142972" indent="-228594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Char char="–"/>
              <a:defRPr sz="15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3pPr>
            <a:lvl4pPr marL="1600160" indent="-228594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Char char="–"/>
              <a:defRPr sz="15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4pPr>
            <a:lvl5pPr marL="2057348" indent="-228594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Char char="–"/>
              <a:defRPr sz="15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09">
              <a:lnSpc>
                <a:spcPct val="100000"/>
              </a:lnSpc>
              <a:spcAft>
                <a:spcPts val="1200"/>
              </a:spcAft>
              <a:buClr>
                <a:srgbClr val="C50022"/>
              </a:buClr>
              <a:buNone/>
              <a:defRPr/>
            </a:pPr>
            <a:r>
              <a:rPr lang="en-US" sz="1800" b="1" dirty="0" err="1"/>
              <a:t>Trelona</a:t>
            </a:r>
            <a:r>
              <a:rPr lang="en-US" sz="1800" b="1" dirty="0"/>
              <a:t> ATBS Annual Bait Stations</a:t>
            </a:r>
          </a:p>
          <a:p>
            <a:pPr marL="342858" indent="-342858" defTabSz="914309">
              <a:lnSpc>
                <a:spcPct val="100000"/>
              </a:lnSpc>
              <a:spcAft>
                <a:spcPts val="1200"/>
              </a:spcAft>
              <a:buClr>
                <a:srgbClr val="C50022"/>
              </a:buClr>
            </a:pPr>
            <a:r>
              <a:rPr lang="en-US" sz="1800" dirty="0">
                <a:solidFill>
                  <a:srgbClr val="FFFFFF">
                    <a:lumMod val="50000"/>
                  </a:srgbClr>
                </a:solidFill>
              </a:rPr>
              <a:t>Visit </a:t>
            </a:r>
            <a:r>
              <a:rPr lang="en-US" sz="1800" b="1" dirty="0">
                <a:solidFill>
                  <a:srgbClr val="FFFFFF">
                    <a:lumMod val="50000"/>
                  </a:srgbClr>
                </a:solidFill>
              </a:rPr>
              <a:t>TrelonaATBS.com</a:t>
            </a:r>
          </a:p>
          <a:p>
            <a:pPr marL="342858" indent="-342858" defTabSz="914309">
              <a:lnSpc>
                <a:spcPct val="100000"/>
              </a:lnSpc>
              <a:spcAft>
                <a:spcPts val="1200"/>
              </a:spcAft>
              <a:buClr>
                <a:srgbClr val="C50022"/>
              </a:buClr>
            </a:pPr>
            <a:r>
              <a:rPr lang="en-US" sz="1800" b="1" dirty="0">
                <a:solidFill>
                  <a:srgbClr val="FFFFFF">
                    <a:lumMod val="50000"/>
                  </a:srgbClr>
                </a:solidFill>
              </a:rPr>
              <a:t>https://www.pestcontrol.basf.us/</a:t>
            </a:r>
          </a:p>
          <a:p>
            <a:pPr marL="342858" indent="-342858" defTabSz="914309">
              <a:lnSpc>
                <a:spcPct val="100000"/>
              </a:lnSpc>
              <a:spcAft>
                <a:spcPts val="1200"/>
              </a:spcAft>
              <a:buClr>
                <a:srgbClr val="C50022"/>
              </a:buClr>
              <a:defRPr/>
            </a:pPr>
            <a:r>
              <a:rPr lang="en-US" sz="1800" dirty="0">
                <a:solidFill>
                  <a:srgbClr val="FFFFFF">
                    <a:lumMod val="50000"/>
                  </a:srgbClr>
                </a:solidFill>
              </a:rPr>
              <a:t>Label &amp; SDS Resources available at CDMS.net</a:t>
            </a:r>
          </a:p>
          <a:p>
            <a:pPr marL="342858" indent="-342858" defTabSz="914309">
              <a:lnSpc>
                <a:spcPct val="100000"/>
              </a:lnSpc>
              <a:spcAft>
                <a:spcPts val="1200"/>
              </a:spcAft>
              <a:buClr>
                <a:srgbClr val="C50022"/>
              </a:buClr>
              <a:defRPr/>
            </a:pPr>
            <a:r>
              <a:rPr lang="en-US" sz="1800" dirty="0">
                <a:solidFill>
                  <a:srgbClr val="FFFFFF">
                    <a:lumMod val="50000"/>
                  </a:srgbClr>
                </a:solidFill>
              </a:rPr>
              <a:t>Label Training Program available at https://training.pctonline.com/#/landing</a:t>
            </a:r>
          </a:p>
          <a:p>
            <a:pPr marL="342858" indent="-342858" defTabSz="914309">
              <a:lnSpc>
                <a:spcPct val="100000"/>
              </a:lnSpc>
              <a:spcAft>
                <a:spcPts val="1200"/>
              </a:spcAft>
              <a:buClr>
                <a:srgbClr val="C50022"/>
              </a:buClr>
            </a:pPr>
            <a:r>
              <a:rPr lang="en-US" sz="1800" b="1" dirty="0" err="1">
                <a:solidFill>
                  <a:srgbClr val="FFFFFF">
                    <a:lumMod val="50000"/>
                  </a:srgbClr>
                </a:solidFill>
              </a:rPr>
              <a:t>Trelona</a:t>
            </a:r>
            <a:r>
              <a:rPr lang="en-US" sz="1800" b="1" dirty="0">
                <a:solidFill>
                  <a:srgbClr val="FFFFFF">
                    <a:lumMod val="50000"/>
                  </a:srgbClr>
                </a:solidFill>
              </a:rPr>
              <a:t> ATBS Stations and Materials Available </a:t>
            </a:r>
            <a:r>
              <a:rPr lang="en-US" sz="1800" dirty="0">
                <a:solidFill>
                  <a:srgbClr val="FFFFFF">
                    <a:lumMod val="50000"/>
                  </a:srgbClr>
                </a:solidFill>
              </a:rPr>
              <a:t>at your trusted BASF Distributor!</a:t>
            </a:r>
          </a:p>
          <a:p>
            <a:pPr marL="342858" indent="-342858" defTabSz="914309">
              <a:lnSpc>
                <a:spcPct val="100000"/>
              </a:lnSpc>
              <a:spcAft>
                <a:spcPts val="1200"/>
              </a:spcAft>
              <a:buClr>
                <a:srgbClr val="C50022"/>
              </a:buClr>
            </a:pPr>
            <a:endParaRPr lang="en-US" sz="18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0A9409C-7E3B-4205-9439-7559A757998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565758" y="5000675"/>
            <a:ext cx="3254143" cy="17096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2CF4613-E710-4B39-915C-58477A624E88}"/>
              </a:ext>
            </a:extLst>
          </p:cNvPr>
          <p:cNvSpPr txBox="1"/>
          <p:nvPr/>
        </p:nvSpPr>
        <p:spPr>
          <a:xfrm>
            <a:off x="218307" y="4169572"/>
            <a:ext cx="4999102" cy="1221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 fontAlgn="base">
              <a:spcBef>
                <a:spcPct val="0"/>
              </a:spcBef>
              <a:spcAft>
                <a:spcPct val="0"/>
              </a:spcAft>
            </a:pPr>
            <a:r>
              <a:rPr lang="en-US" sz="1467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r. Bob Davis</a:t>
            </a:r>
          </a:p>
          <a:p>
            <a:pPr defTabSz="1219078" fontAlgn="base">
              <a:spcBef>
                <a:spcPct val="0"/>
              </a:spcBef>
              <a:spcAft>
                <a:spcPct val="0"/>
              </a:spcAft>
            </a:pPr>
            <a:r>
              <a:rPr lang="en-US" sz="1467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echnical Services Representative</a:t>
            </a:r>
          </a:p>
          <a:p>
            <a:pPr defTabSz="1219078" fontAlgn="base">
              <a:spcBef>
                <a:spcPct val="0"/>
              </a:spcBef>
              <a:spcAft>
                <a:spcPct val="0"/>
              </a:spcAft>
            </a:pPr>
            <a:r>
              <a:rPr lang="en-US" sz="1467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BASF Professional &amp; Specialty Solutions</a:t>
            </a:r>
          </a:p>
          <a:p>
            <a:pPr defTabSz="1219078" fontAlgn="base">
              <a:spcBef>
                <a:spcPct val="0"/>
              </a:spcBef>
              <a:spcAft>
                <a:spcPct val="0"/>
              </a:spcAft>
            </a:pPr>
            <a:r>
              <a:rPr lang="en-US" sz="1467" dirty="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hlinkClick r:id="rId6"/>
              </a:rPr>
              <a:t>robert.davis@basf.com</a:t>
            </a:r>
            <a:endParaRPr lang="en-US" sz="1467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defTabSz="1219078" fontAlgn="base">
              <a:spcBef>
                <a:spcPct val="0"/>
              </a:spcBef>
              <a:spcAft>
                <a:spcPct val="0"/>
              </a:spcAft>
            </a:pPr>
            <a:endParaRPr lang="en-US" sz="1467" dirty="0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FB4B490-9CB6-479E-BC85-D56401673987}"/>
              </a:ext>
            </a:extLst>
          </p:cNvPr>
          <p:cNvGrpSpPr/>
          <p:nvPr/>
        </p:nvGrpSpPr>
        <p:grpSpPr>
          <a:xfrm>
            <a:off x="10461968" y="3153140"/>
            <a:ext cx="1728444" cy="2901318"/>
            <a:chOff x="7647877" y="2987566"/>
            <a:chExt cx="1310666" cy="2176272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4FE220D-2995-4D54-B6F5-41CBB78A3ED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555" y="2987566"/>
              <a:ext cx="1296988" cy="2176272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2522B9D-7403-4EE5-AB9A-ADD9B29AF6AE}"/>
                </a:ext>
              </a:extLst>
            </p:cNvPr>
            <p:cNvSpPr txBox="1"/>
            <p:nvPr/>
          </p:nvSpPr>
          <p:spPr>
            <a:xfrm>
              <a:off x="7647877" y="2987566"/>
              <a:ext cx="1277938" cy="715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0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66" dirty="0">
                  <a:solidFill>
                    <a:srgbClr val="C50022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Click on slide or down arrow ke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6705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360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13602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F Product Stewardshi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5873" y="1871336"/>
            <a:ext cx="9375452" cy="4607384"/>
          </a:xfrm>
        </p:spPr>
        <p:txBody>
          <a:bodyPr/>
          <a:lstStyle/>
          <a:p>
            <a:r>
              <a:rPr lang="en-US" dirty="0"/>
              <a:t>Product Stewardship is everybody’s responsibility</a:t>
            </a:r>
          </a:p>
          <a:p>
            <a:pPr lvl="1"/>
            <a:r>
              <a:rPr lang="en-US" dirty="0"/>
              <a:t>Always Read and Follow Label Directions.</a:t>
            </a:r>
          </a:p>
          <a:p>
            <a:pPr lvl="1"/>
            <a:r>
              <a:rPr lang="en-US" dirty="0"/>
              <a:t>Always Refer to Label for Registered Uses.</a:t>
            </a:r>
          </a:p>
          <a:p>
            <a:pPr lvl="1"/>
            <a:r>
              <a:rPr lang="en-US" dirty="0"/>
              <a:t>Uses not included on the Label have not been evaluated for human and environmental safety.</a:t>
            </a:r>
          </a:p>
          <a:p>
            <a:pPr lvl="1"/>
            <a:r>
              <a:rPr lang="en-US" dirty="0"/>
              <a:t>Use of products for non-labeled uses is a violation of federal law and can result in human and environmental hazard.</a:t>
            </a:r>
          </a:p>
        </p:txBody>
      </p:sp>
      <p:grpSp>
        <p:nvGrpSpPr>
          <p:cNvPr id="941" name="Group 940">
            <a:extLst>
              <a:ext uri="{FF2B5EF4-FFF2-40B4-BE49-F238E27FC236}">
                <a16:creationId xmlns:a16="http://schemas.microsoft.com/office/drawing/2014/main" id="{10FAD95C-0832-4B33-9C89-F1B4F70A4CCC}"/>
              </a:ext>
            </a:extLst>
          </p:cNvPr>
          <p:cNvGrpSpPr/>
          <p:nvPr/>
        </p:nvGrpSpPr>
        <p:grpSpPr>
          <a:xfrm>
            <a:off x="10151671" y="3054030"/>
            <a:ext cx="1801749" cy="2258307"/>
            <a:chOff x="7679977" y="3471347"/>
            <a:chExt cx="1286256" cy="1693951"/>
          </a:xfrm>
        </p:grpSpPr>
        <p:sp>
          <p:nvSpPr>
            <p:cNvPr id="942" name="TextBox 941">
              <a:extLst>
                <a:ext uri="{FF2B5EF4-FFF2-40B4-BE49-F238E27FC236}">
                  <a16:creationId xmlns:a16="http://schemas.microsoft.com/office/drawing/2014/main" id="{81DDA886-2531-4439-ABA4-9240EC65AFA5}"/>
                </a:ext>
              </a:extLst>
            </p:cNvPr>
            <p:cNvSpPr txBox="1"/>
            <p:nvPr/>
          </p:nvSpPr>
          <p:spPr>
            <a:xfrm>
              <a:off x="7688295" y="3471347"/>
              <a:ext cx="1277938" cy="7153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  <p:pic>
          <p:nvPicPr>
            <p:cNvPr id="943" name="Picture 942">
              <a:extLst>
                <a:ext uri="{FF2B5EF4-FFF2-40B4-BE49-F238E27FC236}">
                  <a16:creationId xmlns:a16="http://schemas.microsoft.com/office/drawing/2014/main" id="{5342473F-5C17-40ED-B77A-FED44C4F7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9977" y="4153362"/>
              <a:ext cx="1286256" cy="10119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331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SF_logo_red_EN_Male">
            <a:hlinkClick r:id="" action="ppaction://media"/>
            <a:extLst>
              <a:ext uri="{FF2B5EF4-FFF2-40B4-BE49-F238E27FC236}">
                <a16:creationId xmlns:a16="http://schemas.microsoft.com/office/drawing/2014/main" id="{920E6B4E-6D1C-4788-A911-22E106B8D2F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90" y="9917"/>
            <a:ext cx="12190413" cy="6856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653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8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F8F0D2C4-B1CC-4D85-8AFC-097C1F3EA52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107189" y="4714338"/>
            <a:ext cx="812694" cy="8126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2395A0D-1539-4D8E-AFA3-DDA281B77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pecting &amp; Servicing </a:t>
            </a:r>
            <a:r>
              <a:rPr lang="en-US" dirty="0" err="1"/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/>
              <a:t> ATBS Annual Bait St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20F258-0DF5-41CB-AD50-839349D9BE8F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r>
              <a:rPr lang="en-US" altLang="en-US" dirty="0"/>
              <a:t>Regularly scheduled inspections are critical for system, station and site maintenance</a:t>
            </a:r>
          </a:p>
          <a:p>
            <a:r>
              <a:rPr lang="en-US" altLang="en-US" dirty="0"/>
              <a:t>Follow label directions for scheduling</a:t>
            </a:r>
          </a:p>
          <a:p>
            <a:r>
              <a:rPr lang="en-US" altLang="en-US" dirty="0"/>
              <a:t>Remember to inspect structure as you inspect the stations!</a:t>
            </a:r>
          </a:p>
          <a:p>
            <a:pPr marL="0" indent="0">
              <a:buNone/>
            </a:pPr>
            <a:r>
              <a:rPr lang="en-US" altLang="en-US" dirty="0"/>
              <a:t> </a:t>
            </a:r>
          </a:p>
        </p:txBody>
      </p:sp>
      <p:pic>
        <p:nvPicPr>
          <p:cNvPr id="5" name="Picture 7" descr="Q:\R&amp;D\ATBS\2013 Texas\2012 Keck\Book\9 13 station inspections\station open Book insp 9 13 1 (2).jpg">
            <a:extLst>
              <a:ext uri="{FF2B5EF4-FFF2-40B4-BE49-F238E27FC236}">
                <a16:creationId xmlns:a16="http://schemas.microsoft.com/office/drawing/2014/main" id="{97E919E6-D463-4F18-B065-E7C9C404A058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40959" y="1871336"/>
            <a:ext cx="3276732" cy="4607384"/>
          </a:xfrm>
          <a:noFill/>
          <a:ln>
            <a:solidFill>
              <a:schemeClr val="tx1"/>
            </a:solidFill>
          </a:ln>
        </p:spPr>
      </p:pic>
      <p:grpSp>
        <p:nvGrpSpPr>
          <p:cNvPr id="946" name="Group 945">
            <a:extLst>
              <a:ext uri="{FF2B5EF4-FFF2-40B4-BE49-F238E27FC236}">
                <a16:creationId xmlns:a16="http://schemas.microsoft.com/office/drawing/2014/main" id="{82E1B781-8B3C-4988-85E3-2C7C54AE535D}"/>
              </a:ext>
            </a:extLst>
          </p:cNvPr>
          <p:cNvGrpSpPr/>
          <p:nvPr/>
        </p:nvGrpSpPr>
        <p:grpSpPr>
          <a:xfrm>
            <a:off x="10150589" y="3044603"/>
            <a:ext cx="1812259" cy="2258307"/>
            <a:chOff x="7679977" y="3471347"/>
            <a:chExt cx="1286256" cy="1693951"/>
          </a:xfrm>
        </p:grpSpPr>
        <p:sp>
          <p:nvSpPr>
            <p:cNvPr id="942" name="TextBox 941">
              <a:extLst>
                <a:ext uri="{FF2B5EF4-FFF2-40B4-BE49-F238E27FC236}">
                  <a16:creationId xmlns:a16="http://schemas.microsoft.com/office/drawing/2014/main" id="{EA95B288-EF6A-4659-95DB-9E2D867C10F9}"/>
                </a:ext>
              </a:extLst>
            </p:cNvPr>
            <p:cNvSpPr txBox="1"/>
            <p:nvPr/>
          </p:nvSpPr>
          <p:spPr>
            <a:xfrm>
              <a:off x="7688295" y="3471347"/>
              <a:ext cx="1277938" cy="7153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  <p:pic>
          <p:nvPicPr>
            <p:cNvPr id="945" name="Picture 944">
              <a:extLst>
                <a:ext uri="{FF2B5EF4-FFF2-40B4-BE49-F238E27FC236}">
                  <a16:creationId xmlns:a16="http://schemas.microsoft.com/office/drawing/2014/main" id="{EBBD84F5-80F0-4819-BB72-C010D85CB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9977" y="4153362"/>
              <a:ext cx="1286256" cy="101193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561021A9-B5AC-4E9A-8E9D-29621B7F3C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37836" y="3926765"/>
            <a:ext cx="2162343" cy="277794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46532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30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8307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CA8241FC-66DA-4F31-BC2F-A109959D66D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510206" y="4752948"/>
            <a:ext cx="812694" cy="81269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774" y="4317436"/>
            <a:ext cx="2808468" cy="249641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15872" y="358117"/>
            <a:ext cx="9815822" cy="1343908"/>
          </a:xfrm>
        </p:spPr>
        <p:txBody>
          <a:bodyPr/>
          <a:lstStyle/>
          <a:p>
            <a:r>
              <a:rPr lang="en-US" dirty="0" err="1">
                <a:solidFill>
                  <a:schemeClr val="accent1"/>
                </a:solidFill>
              </a:rPr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>
                <a:solidFill>
                  <a:schemeClr val="accent1"/>
                </a:solidFill>
              </a:rPr>
              <a:t> ATBS Annual Bait Stations </a:t>
            </a:r>
            <a:br>
              <a:rPr lang="en-US" altLang="en-US" dirty="0"/>
            </a:br>
            <a:r>
              <a:rPr lang="en-US" altLang="en-US" sz="2666" b="0" dirty="0">
                <a:solidFill>
                  <a:schemeClr val="accent2"/>
                </a:solidFill>
              </a:rPr>
              <a:t>Station Inspection Intervals per Label:</a:t>
            </a:r>
          </a:p>
        </p:txBody>
      </p:sp>
      <p:sp>
        <p:nvSpPr>
          <p:cNvPr id="9" name="Content Placeholder 4"/>
          <p:cNvSpPr txBox="1">
            <a:spLocks/>
          </p:cNvSpPr>
          <p:nvPr/>
        </p:nvSpPr>
        <p:spPr bwMode="auto">
          <a:xfrm>
            <a:off x="4387757" y="1850495"/>
            <a:ext cx="5674254" cy="2500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defRPr sz="1400" kern="1200">
                <a:solidFill>
                  <a:srgbClr val="000000"/>
                </a:solidFill>
                <a:latin typeface="Arial"/>
                <a:ea typeface="MS PGothic" panose="020B0600070205080204" pitchFamily="34" charset="-128"/>
                <a:cs typeface="Arial"/>
              </a:defRPr>
            </a:lvl1pPr>
            <a:lvl2pPr marL="7429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defRPr sz="14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1143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Char char="–"/>
              <a:defRPr sz="14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3pPr>
            <a:lvl4pPr marL="1600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Char char="–"/>
              <a:defRPr sz="14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4pPr>
            <a:lvl5pPr marL="2057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Char char="–"/>
              <a:defRPr sz="14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66" b="1" dirty="0"/>
              <a:t>Table 1. Baiting Inspection Intervals</a:t>
            </a:r>
          </a:p>
          <a:p>
            <a:r>
              <a:rPr lang="en-US" altLang="en-US" sz="1866" dirty="0"/>
              <a:t>Use of two 124 gram cartridges in a station</a:t>
            </a:r>
          </a:p>
          <a:p>
            <a:pPr lvl="1"/>
            <a:r>
              <a:rPr lang="en-US" altLang="en-US" sz="1866" dirty="0"/>
              <a:t>Annual inspection interval</a:t>
            </a:r>
          </a:p>
          <a:p>
            <a:pPr lvl="1"/>
            <a:r>
              <a:rPr lang="en-US" altLang="en-US" sz="1866" b="1" dirty="0"/>
              <a:t>In order to have annual inspection interval, </a:t>
            </a:r>
            <a:r>
              <a:rPr lang="en-US" altLang="en-US" sz="1866" b="1" i="1" dirty="0"/>
              <a:t>every</a:t>
            </a:r>
            <a:r>
              <a:rPr lang="en-US" altLang="en-US" sz="1866" b="1" dirty="0"/>
              <a:t> bait station must contain </a:t>
            </a:r>
            <a:r>
              <a:rPr lang="en-US" altLang="en-US" sz="1866" b="1" i="1" dirty="0"/>
              <a:t>two </a:t>
            </a:r>
            <a:r>
              <a:rPr lang="en-US" altLang="en-US" sz="1866" b="1" dirty="0"/>
              <a:t>124 gram cartridges</a:t>
            </a:r>
          </a:p>
          <a:p>
            <a:pPr marL="0" indent="0">
              <a:buNone/>
            </a:pPr>
            <a:endParaRPr lang="en-US" altLang="en-US" sz="1800" dirty="0"/>
          </a:p>
          <a:p>
            <a:pPr marL="0" indent="0">
              <a:buNone/>
            </a:pPr>
            <a:r>
              <a:rPr lang="en-US" altLang="en-US" sz="1800" dirty="0"/>
              <a:t>  </a:t>
            </a:r>
          </a:p>
          <a:p>
            <a:endParaRPr lang="en-US" sz="1866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D452766-1B3B-4B97-AAAA-397F5FE37FB8}"/>
              </a:ext>
            </a:extLst>
          </p:cNvPr>
          <p:cNvGrpSpPr/>
          <p:nvPr/>
        </p:nvGrpSpPr>
        <p:grpSpPr>
          <a:xfrm>
            <a:off x="10167589" y="3050090"/>
            <a:ext cx="1728444" cy="2901318"/>
            <a:chOff x="7647877" y="2987566"/>
            <a:chExt cx="1310666" cy="2176272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0306530-6DD0-4061-86E9-8358C186D8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555" y="2987566"/>
              <a:ext cx="1296988" cy="2176272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0DD4935-5078-4E8D-9F91-B1536C567093}"/>
                </a:ext>
              </a:extLst>
            </p:cNvPr>
            <p:cNvSpPr txBox="1"/>
            <p:nvPr/>
          </p:nvSpPr>
          <p:spPr>
            <a:xfrm>
              <a:off x="7647877" y="2987566"/>
              <a:ext cx="1277938" cy="715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86D54D20-4FC7-4628-BA9F-1699179590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6973" y="1499034"/>
            <a:ext cx="3987166" cy="5379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65201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396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3965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3DBA0CAF-1FE8-4F2E-8BF4-8BC853A9498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956532" y="4409838"/>
            <a:ext cx="812694" cy="812694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90326" y="1872203"/>
            <a:ext cx="5537208" cy="4607400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Table 1. Baiting Inspection Intervals</a:t>
            </a:r>
          </a:p>
          <a:p>
            <a:r>
              <a:rPr lang="en-US" altLang="en-US" dirty="0"/>
              <a:t>Use of one 124 gram </a:t>
            </a:r>
            <a:r>
              <a:rPr lang="en-US" altLang="en-US" dirty="0" err="1"/>
              <a:t>Trelona</a:t>
            </a:r>
            <a:r>
              <a:rPr lang="en-US" altLang="en-US" dirty="0"/>
              <a:t> bait cartridge in a station:</a:t>
            </a:r>
          </a:p>
          <a:p>
            <a:pPr lvl="1"/>
            <a:r>
              <a:rPr lang="en-US" altLang="en-US" dirty="0"/>
              <a:t>Inspection interval is 120 days (3 times per year)</a:t>
            </a:r>
          </a:p>
          <a:p>
            <a:pPr lvl="1"/>
            <a:r>
              <a:rPr lang="en-US" altLang="en-US" dirty="0"/>
              <a:t>After feeding has stopped and no activity for 1 year, inspect stations every 6 months</a:t>
            </a:r>
          </a:p>
          <a:p>
            <a:r>
              <a:rPr lang="en-US" altLang="en-US" dirty="0"/>
              <a:t>Inspection intervals must comply with state regulations where applicab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15872" y="358117"/>
            <a:ext cx="9815822" cy="1027623"/>
          </a:xfrm>
        </p:spPr>
        <p:txBody>
          <a:bodyPr/>
          <a:lstStyle/>
          <a:p>
            <a:r>
              <a:rPr lang="en-US" dirty="0" err="1">
                <a:solidFill>
                  <a:schemeClr val="accent1"/>
                </a:solidFill>
              </a:rPr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>
                <a:solidFill>
                  <a:schemeClr val="accent1"/>
                </a:solidFill>
              </a:rPr>
              <a:t> ATBS Annual Bait Stations </a:t>
            </a:r>
            <a:br>
              <a:rPr lang="en-US" altLang="en-US" dirty="0"/>
            </a:br>
            <a:r>
              <a:rPr lang="en-US" altLang="en-US" b="0" dirty="0">
                <a:solidFill>
                  <a:schemeClr val="accent2"/>
                </a:solidFill>
              </a:rPr>
              <a:t>Station Inspection Intervals per Label: </a:t>
            </a:r>
          </a:p>
        </p:txBody>
      </p:sp>
      <p:sp>
        <p:nvSpPr>
          <p:cNvPr id="8" name="Rectangle 7"/>
          <p:cNvSpPr/>
          <p:nvPr/>
        </p:nvSpPr>
        <p:spPr>
          <a:xfrm>
            <a:off x="203600" y="1715058"/>
            <a:ext cx="3943364" cy="5036671"/>
          </a:xfrm>
          <a:prstGeom prst="rect">
            <a:avLst/>
          </a:prstGeom>
          <a:noFill/>
          <a:ln w="3175" cmpd="sng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943" name="Group 942">
            <a:extLst>
              <a:ext uri="{FF2B5EF4-FFF2-40B4-BE49-F238E27FC236}">
                <a16:creationId xmlns:a16="http://schemas.microsoft.com/office/drawing/2014/main" id="{CD54B973-5262-4C4E-BF3B-39572B3D1557}"/>
              </a:ext>
            </a:extLst>
          </p:cNvPr>
          <p:cNvGrpSpPr/>
          <p:nvPr/>
        </p:nvGrpSpPr>
        <p:grpSpPr>
          <a:xfrm>
            <a:off x="10151671" y="3044599"/>
            <a:ext cx="1801749" cy="2258307"/>
            <a:chOff x="7679977" y="3471347"/>
            <a:chExt cx="1286256" cy="1693951"/>
          </a:xfrm>
        </p:grpSpPr>
        <p:sp>
          <p:nvSpPr>
            <p:cNvPr id="944" name="TextBox 943">
              <a:extLst>
                <a:ext uri="{FF2B5EF4-FFF2-40B4-BE49-F238E27FC236}">
                  <a16:creationId xmlns:a16="http://schemas.microsoft.com/office/drawing/2014/main" id="{7C174689-A4EB-4317-A31E-C167C31FF6D5}"/>
                </a:ext>
              </a:extLst>
            </p:cNvPr>
            <p:cNvSpPr txBox="1"/>
            <p:nvPr/>
          </p:nvSpPr>
          <p:spPr>
            <a:xfrm>
              <a:off x="7688295" y="3471347"/>
              <a:ext cx="1277938" cy="7153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  <p:pic>
          <p:nvPicPr>
            <p:cNvPr id="945" name="Picture 944">
              <a:extLst>
                <a:ext uri="{FF2B5EF4-FFF2-40B4-BE49-F238E27FC236}">
                  <a16:creationId xmlns:a16="http://schemas.microsoft.com/office/drawing/2014/main" id="{B24A6CFF-0A13-4E5B-9E85-70A065165B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9977" y="4153362"/>
              <a:ext cx="1286256" cy="1011936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CD785AE-0561-4040-8339-27942F3609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800" y="1558466"/>
            <a:ext cx="3966188" cy="5299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923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611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66117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336DB98A-BC25-4408-A2E9-3081B3139F2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688859" y="3022653"/>
            <a:ext cx="812694" cy="81269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3AF4E0B-114C-485F-AE6C-A6752EEF73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0003" y="1629044"/>
            <a:ext cx="5278111" cy="4737570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half" idx="1"/>
          </p:nvPr>
        </p:nvSpPr>
        <p:spPr>
          <a:xfrm>
            <a:off x="215973" y="1872203"/>
            <a:ext cx="3625157" cy="4338454"/>
          </a:xfrm>
        </p:spPr>
        <p:txBody>
          <a:bodyPr/>
          <a:lstStyle/>
          <a:p>
            <a:r>
              <a:rPr lang="en-US" altLang="en-US" dirty="0"/>
              <a:t>Stations numerically positioned and locations shown.</a:t>
            </a:r>
          </a:p>
          <a:p>
            <a:r>
              <a:rPr lang="en-US" altLang="en-US" dirty="0"/>
              <a:t>Amend diagram if new stations added, or stations are relocated over time. </a:t>
            </a:r>
          </a:p>
          <a:p>
            <a:r>
              <a:rPr lang="en-US" altLang="en-US" dirty="0"/>
              <a:t>Use landmarks for ease of station location.</a:t>
            </a:r>
          </a:p>
          <a:p>
            <a:pPr lvl="1"/>
            <a:r>
              <a:rPr lang="en-US" altLang="en-US" dirty="0"/>
              <a:t>AC units, Windows, Hose bibs, Trees, Stumps, Weep holes, etc.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215872" y="358116"/>
            <a:ext cx="9539063" cy="1491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110000"/>
              </a:spcBef>
              <a:spcAft>
                <a:spcPct val="110000"/>
              </a:spcAft>
              <a:defRPr sz="3000" b="1" kern="1200">
                <a:solidFill>
                  <a:srgbClr val="C50022"/>
                </a:solidFill>
                <a:latin typeface="Arial"/>
                <a:ea typeface="MS PGothic" panose="020B0600070205080204" pitchFamily="34" charset="-128"/>
                <a:cs typeface="Arial"/>
              </a:defRPr>
            </a:lvl1pPr>
            <a:lvl2pPr algn="l" rtl="0" eaLnBrk="0" fontAlgn="base" hangingPunct="0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MS PGothic" panose="020B0600070205080204" pitchFamily="34" charset="-128"/>
                <a:cs typeface="Arial" charset="0"/>
              </a:defRPr>
            </a:lvl5pPr>
            <a:lvl6pPr marL="457200" algn="l" rtl="0" fontAlgn="base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914400" algn="l" rtl="0" fontAlgn="base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1371600" algn="l" rtl="0" fontAlgn="base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1828800" algn="l" rtl="0" fontAlgn="base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r>
              <a:rPr lang="sk-SK" sz="2800" dirty="0"/>
              <a:t>Trelona</a:t>
            </a:r>
            <a:r>
              <a:rPr lang="sk-SK" sz="2800" baseline="30000" dirty="0"/>
              <a:t>®</a:t>
            </a:r>
            <a:r>
              <a:rPr lang="en-US" sz="2800" dirty="0"/>
              <a:t> ATBS Annual Bait Stations</a:t>
            </a:r>
            <a:br>
              <a:rPr lang="en-US" sz="2800" baseline="30000" dirty="0"/>
            </a:br>
            <a:r>
              <a:rPr lang="en-US" sz="2800" b="0" dirty="0">
                <a:solidFill>
                  <a:schemeClr val="accent2"/>
                </a:solidFill>
              </a:rPr>
              <a:t>Use Diagram of Structure to Locate and Service Station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49917D5-D30D-43DE-AD3D-6D80B1CFCFE9}"/>
              </a:ext>
            </a:extLst>
          </p:cNvPr>
          <p:cNvGrpSpPr/>
          <p:nvPr/>
        </p:nvGrpSpPr>
        <p:grpSpPr>
          <a:xfrm>
            <a:off x="10167589" y="3059520"/>
            <a:ext cx="1728444" cy="2901318"/>
            <a:chOff x="7647877" y="2987566"/>
            <a:chExt cx="1310666" cy="2176272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CA06C7F4-1B4F-4942-AAE5-603A5E51C5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555" y="2987566"/>
              <a:ext cx="1296988" cy="2176272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31AB053-770C-420A-B4F9-0319A27EE706}"/>
                </a:ext>
              </a:extLst>
            </p:cNvPr>
            <p:cNvSpPr txBox="1"/>
            <p:nvPr/>
          </p:nvSpPr>
          <p:spPr>
            <a:xfrm>
              <a:off x="7647877" y="2987566"/>
              <a:ext cx="1277938" cy="715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0661040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319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40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20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4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27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27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610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33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68F8CE58-D369-4426-8617-5FB14CD0A22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703133" y="5208520"/>
            <a:ext cx="812694" cy="81269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1F2C4F4-3EFE-4BA3-83C6-59977EED0C4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9308" y="4983066"/>
            <a:ext cx="1203491" cy="179178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B8B390C-91B8-4848-B935-DF4C297709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411" y="1851185"/>
            <a:ext cx="5716882" cy="298272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Text Placeholder 1"/>
          <p:cNvSpPr>
            <a:spLocks noGrp="1"/>
          </p:cNvSpPr>
          <p:nvPr>
            <p:ph type="body" sz="half" idx="1"/>
          </p:nvPr>
        </p:nvSpPr>
        <p:spPr>
          <a:xfrm>
            <a:off x="215973" y="1872203"/>
            <a:ext cx="4703910" cy="4885516"/>
          </a:xfrm>
        </p:spPr>
        <p:txBody>
          <a:bodyPr/>
          <a:lstStyle/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/>
              <a:t>Site diagram</a:t>
            </a:r>
          </a:p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/>
              <a:t>Tote</a:t>
            </a:r>
          </a:p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/>
              <a:t>Spider Tool</a:t>
            </a:r>
          </a:p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/>
              <a:t>Cotter pin/key puller</a:t>
            </a:r>
          </a:p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/>
              <a:t>Melon baller (or clean-out auger)</a:t>
            </a:r>
          </a:p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/>
              <a:t>Firm brush</a:t>
            </a:r>
          </a:p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/>
              <a:t>Nail claw (medium)</a:t>
            </a:r>
          </a:p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/>
              <a:t>Kneel pad or knee pads</a:t>
            </a:r>
          </a:p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 err="1"/>
              <a:t>Trelona</a:t>
            </a:r>
            <a:r>
              <a:rPr lang="en-US" dirty="0"/>
              <a:t> Bait Cartridges</a:t>
            </a:r>
          </a:p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/>
              <a:t>Probe or Screwdriver</a:t>
            </a:r>
          </a:p>
          <a:p>
            <a:pPr marL="685731" lvl="1" indent="-685731">
              <a:buFont typeface="Wingdings" pitchFamily="2" charset="2"/>
              <a:buAutoNum type="arabicPeriod"/>
            </a:pPr>
            <a:r>
              <a:rPr lang="en-US" dirty="0"/>
              <a:t>Permanent Marker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215873" y="358117"/>
            <a:ext cx="9463170" cy="1343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110000"/>
              </a:spcBef>
              <a:spcAft>
                <a:spcPct val="110000"/>
              </a:spcAft>
              <a:defRPr sz="3000" b="1" kern="1200">
                <a:solidFill>
                  <a:srgbClr val="C50022"/>
                </a:solidFill>
                <a:latin typeface="Arial"/>
                <a:ea typeface="MS PGothic" panose="020B0600070205080204" pitchFamily="34" charset="-128"/>
                <a:cs typeface="Arial"/>
              </a:defRPr>
            </a:lvl1pPr>
            <a:lvl2pPr algn="l" rtl="0" eaLnBrk="0" fontAlgn="base" hangingPunct="0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MS PGothic" panose="020B0600070205080204" pitchFamily="34" charset="-128"/>
                <a:cs typeface="Arial" charset="0"/>
              </a:defRPr>
            </a:lvl5pPr>
            <a:lvl6pPr marL="457200" algn="l" rtl="0" fontAlgn="base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ＭＳ Ｐゴシック" charset="0"/>
                <a:cs typeface="Arial" charset="0"/>
              </a:defRPr>
            </a:lvl6pPr>
            <a:lvl7pPr marL="914400" algn="l" rtl="0" fontAlgn="base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ＭＳ Ｐゴシック" charset="0"/>
                <a:cs typeface="Arial" charset="0"/>
              </a:defRPr>
            </a:lvl7pPr>
            <a:lvl8pPr marL="1371600" algn="l" rtl="0" fontAlgn="base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ＭＳ Ｐゴシック" charset="0"/>
                <a:cs typeface="Arial" charset="0"/>
              </a:defRPr>
            </a:lvl8pPr>
            <a:lvl9pPr marL="1828800" algn="l" rtl="0" fontAlgn="base">
              <a:spcBef>
                <a:spcPct val="110000"/>
              </a:spcBef>
              <a:spcAft>
                <a:spcPct val="110000"/>
              </a:spcAft>
              <a:defRPr sz="3000" b="1">
                <a:solidFill>
                  <a:srgbClr val="C50022"/>
                </a:solidFill>
                <a:latin typeface="Arial" charset="0"/>
                <a:ea typeface="ＭＳ Ｐゴシック" charset="0"/>
                <a:cs typeface="Arial" charset="0"/>
              </a:defRPr>
            </a:lvl9pPr>
          </a:lstStyle>
          <a:p>
            <a:r>
              <a:rPr lang="sk-SK" sz="2800" dirty="0"/>
              <a:t>Trelona</a:t>
            </a:r>
            <a:r>
              <a:rPr lang="sk-SK" sz="2800" baseline="30000" dirty="0"/>
              <a:t>®</a:t>
            </a:r>
            <a:r>
              <a:rPr lang="en-US" sz="2800" dirty="0"/>
              <a:t> ATBS</a:t>
            </a:r>
            <a:br>
              <a:rPr lang="en-US" sz="2800" baseline="30000" dirty="0"/>
            </a:br>
            <a:r>
              <a:rPr lang="en-US" sz="2800" b="0" dirty="0" err="1">
                <a:solidFill>
                  <a:schemeClr val="accent2"/>
                </a:solidFill>
              </a:rPr>
              <a:t>Recommended Inspection Tools</a:t>
            </a:r>
            <a:endParaRPr lang="en-US" sz="2800" b="0" dirty="0">
              <a:solidFill>
                <a:schemeClr val="accent2"/>
              </a:solidFill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95CD0A9E-1CF9-41DA-8FAB-D4FC65289FB6}"/>
              </a:ext>
            </a:extLst>
          </p:cNvPr>
          <p:cNvSpPr txBox="1">
            <a:spLocks/>
          </p:cNvSpPr>
          <p:nvPr/>
        </p:nvSpPr>
        <p:spPr bwMode="auto">
          <a:xfrm>
            <a:off x="4811917" y="4950173"/>
            <a:ext cx="4703910" cy="1549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defRPr sz="1400" kern="1200">
                <a:solidFill>
                  <a:srgbClr val="000000"/>
                </a:solidFill>
                <a:latin typeface="Arial"/>
                <a:ea typeface="MS PGothic" panose="020B0600070205080204" pitchFamily="34" charset="-128"/>
                <a:cs typeface="Arial"/>
              </a:defRPr>
            </a:lvl1pPr>
            <a:lvl2pPr marL="7429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defRPr sz="14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11430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Char char="–"/>
              <a:defRPr sz="14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3pPr>
            <a:lvl4pPr marL="16002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Char char="–"/>
              <a:defRPr sz="14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4pPr>
            <a:lvl5pPr marL="2057400" indent="-2286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50000"/>
              </a:spcAft>
              <a:buClr>
                <a:schemeClr val="tx1"/>
              </a:buClr>
              <a:buChar char="–"/>
              <a:defRPr sz="14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en-US" sz="1866" dirty="0">
                <a:solidFill>
                  <a:schemeClr val="bg1"/>
                </a:solidFill>
              </a:rPr>
              <a:t>Clean-out auger bit</a:t>
            </a:r>
          </a:p>
          <a:p>
            <a:pPr marL="0" lvl="1" indent="0">
              <a:buNone/>
            </a:pPr>
            <a:r>
              <a:rPr lang="en-US" sz="1866" dirty="0">
                <a:solidFill>
                  <a:schemeClr val="accent1"/>
                </a:solidFill>
              </a:rPr>
              <a:t>12.      </a:t>
            </a:r>
            <a:r>
              <a:rPr lang="en-US" sz="1866" dirty="0"/>
              <a:t>Extra lids</a:t>
            </a:r>
          </a:p>
          <a:p>
            <a:pPr marL="457154" lvl="1" indent="-457154">
              <a:buAutoNum type="arabicPlain" startAt="13"/>
            </a:pPr>
            <a:r>
              <a:rPr lang="en-US" sz="1866" dirty="0"/>
              <a:t>    Extra stations</a:t>
            </a:r>
          </a:p>
          <a:p>
            <a:pPr marL="457154" lvl="1" indent="-457154">
              <a:buAutoNum type="arabicPlain" startAt="13"/>
            </a:pPr>
            <a:r>
              <a:rPr lang="en-US" sz="1866" dirty="0"/>
              <a:t>    Ant bait</a:t>
            </a:r>
          </a:p>
          <a:p>
            <a:endParaRPr lang="en-US" sz="1866" dirty="0"/>
          </a:p>
        </p:txBody>
      </p:sp>
      <p:grpSp>
        <p:nvGrpSpPr>
          <p:cNvPr id="945" name="Group 944">
            <a:extLst>
              <a:ext uri="{FF2B5EF4-FFF2-40B4-BE49-F238E27FC236}">
                <a16:creationId xmlns:a16="http://schemas.microsoft.com/office/drawing/2014/main" id="{F0E30016-38AA-4DA0-8A43-F8D82FE34D44}"/>
              </a:ext>
            </a:extLst>
          </p:cNvPr>
          <p:cNvGrpSpPr/>
          <p:nvPr/>
        </p:nvGrpSpPr>
        <p:grpSpPr>
          <a:xfrm>
            <a:off x="10151671" y="3044597"/>
            <a:ext cx="1801749" cy="2258307"/>
            <a:chOff x="7679977" y="3471347"/>
            <a:chExt cx="1286256" cy="1693951"/>
          </a:xfrm>
        </p:grpSpPr>
        <p:sp>
          <p:nvSpPr>
            <p:cNvPr id="946" name="TextBox 945">
              <a:extLst>
                <a:ext uri="{FF2B5EF4-FFF2-40B4-BE49-F238E27FC236}">
                  <a16:creationId xmlns:a16="http://schemas.microsoft.com/office/drawing/2014/main" id="{021900FA-F95E-462C-99FE-0874A471E4ED}"/>
                </a:ext>
              </a:extLst>
            </p:cNvPr>
            <p:cNvSpPr txBox="1"/>
            <p:nvPr/>
          </p:nvSpPr>
          <p:spPr>
            <a:xfrm>
              <a:off x="7688295" y="3471347"/>
              <a:ext cx="1277938" cy="7153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  <p:pic>
          <p:nvPicPr>
            <p:cNvPr id="947" name="Picture 946">
              <a:extLst>
                <a:ext uri="{FF2B5EF4-FFF2-40B4-BE49-F238E27FC236}">
                  <a16:creationId xmlns:a16="http://schemas.microsoft.com/office/drawing/2014/main" id="{4E4CEAA9-ACDB-4E89-AE3A-AD8B49B8DD1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9977" y="4153362"/>
              <a:ext cx="1286256" cy="10119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269716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9802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99802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10000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E9118B32-0243-4C45-9249-0500E640AFF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688859" y="3022653"/>
            <a:ext cx="812694" cy="81269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7293EF-3F6E-4264-8B77-3A46E3D5F3B1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r>
              <a:rPr lang="en-US" dirty="0"/>
              <a:t>Visit with occupants (if present)</a:t>
            </a:r>
          </a:p>
          <a:p>
            <a:r>
              <a:rPr lang="en-US" dirty="0"/>
              <a:t>Perform a site inspection</a:t>
            </a:r>
          </a:p>
          <a:p>
            <a:pPr lvl="1"/>
            <a:r>
              <a:rPr lang="en-US" dirty="0"/>
              <a:t>Ensure access to property, no locked gates, etc.</a:t>
            </a:r>
          </a:p>
          <a:p>
            <a:pPr lvl="1"/>
            <a:r>
              <a:rPr lang="en-US" dirty="0"/>
              <a:t>Ensure personal safety, no threatening dogs, etc.</a:t>
            </a:r>
          </a:p>
          <a:p>
            <a:pPr lvl="1"/>
            <a:r>
              <a:rPr lang="en-US" dirty="0"/>
              <a:t>Check on diagram, see if changes to property since last inspection; additions, new landscaping, new pool or patio, etc.</a:t>
            </a:r>
          </a:p>
          <a:p>
            <a:r>
              <a:rPr lang="en-US" dirty="0"/>
              <a:t>Return to vehicle and gather tools for station inspections!</a:t>
            </a:r>
          </a:p>
          <a:p>
            <a:pPr lvl="1"/>
            <a:endParaRPr lang="en-US" dirty="0"/>
          </a:p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6835A0DC-3A5D-4A55-A80B-FA3378E4A2F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062" y="1756354"/>
            <a:ext cx="4704737" cy="4195056"/>
          </a:xfrm>
          <a:ln>
            <a:solidFill>
              <a:schemeClr val="tx1"/>
            </a:solidFill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4511DE11-B693-4680-B14B-F91A8877D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71" y="358117"/>
            <a:ext cx="10163039" cy="548473"/>
          </a:xfrm>
        </p:spPr>
        <p:txBody>
          <a:bodyPr/>
          <a:lstStyle/>
          <a:p>
            <a:r>
              <a:rPr lang="en-US" dirty="0"/>
              <a:t>Inspecting &amp; Servicing </a:t>
            </a:r>
            <a:r>
              <a:rPr lang="en-US" dirty="0" err="1"/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/>
              <a:t> ATBS Annual Bait Station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8D08EB6-A51F-4CB6-AE4B-2D6C2230E48C}"/>
              </a:ext>
            </a:extLst>
          </p:cNvPr>
          <p:cNvGrpSpPr/>
          <p:nvPr/>
        </p:nvGrpSpPr>
        <p:grpSpPr>
          <a:xfrm>
            <a:off x="10177016" y="3050092"/>
            <a:ext cx="1728444" cy="2901318"/>
            <a:chOff x="7647877" y="2987566"/>
            <a:chExt cx="1310666" cy="21762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0BE561D-CBC7-40FD-809E-E458B0A10AF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555" y="2987566"/>
              <a:ext cx="1296988" cy="2176272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CDF4CAD-F10E-456C-B2F0-CAB13172F5D4}"/>
                </a:ext>
              </a:extLst>
            </p:cNvPr>
            <p:cNvSpPr txBox="1"/>
            <p:nvPr/>
          </p:nvSpPr>
          <p:spPr>
            <a:xfrm>
              <a:off x="7647877" y="2987566"/>
              <a:ext cx="1277938" cy="715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6179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908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9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3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2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7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1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9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2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1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8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B0471322-F484-43DD-98B7-4682FE6DD62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688859" y="3022653"/>
            <a:ext cx="812694" cy="81269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9FC35-2549-4CED-8643-48536D86C324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r>
              <a:rPr lang="en-US" dirty="0"/>
              <a:t>Locate station</a:t>
            </a:r>
          </a:p>
          <a:p>
            <a:pPr lvl="1"/>
            <a:r>
              <a:rPr lang="en-US" dirty="0"/>
              <a:t>Verify on the site diagram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D69AD87-51DF-4988-9169-BEA5DDB36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72" y="358117"/>
            <a:ext cx="10313868" cy="1343908"/>
          </a:xfrm>
        </p:spPr>
        <p:txBody>
          <a:bodyPr/>
          <a:lstStyle/>
          <a:p>
            <a:r>
              <a:rPr lang="en-US" dirty="0"/>
              <a:t>Inspecting &amp; Servicing </a:t>
            </a:r>
            <a:r>
              <a:rPr lang="en-US" dirty="0" err="1"/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/>
              <a:t> ATBS Annual Bait Stations</a:t>
            </a: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C668F759-5D2B-44BA-A137-8DEEEF0AAD3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707" y="2607755"/>
            <a:ext cx="4704737" cy="3136490"/>
          </a:xfr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3473971-E498-4552-86B8-6FBF7C6D44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052" y="2882826"/>
            <a:ext cx="4029753" cy="3617057"/>
          </a:xfrm>
          <a:prstGeom prst="rect">
            <a:avLst/>
          </a:prstGeom>
        </p:spPr>
      </p:pic>
      <p:grpSp>
        <p:nvGrpSpPr>
          <p:cNvPr id="942" name="Group 941">
            <a:extLst>
              <a:ext uri="{FF2B5EF4-FFF2-40B4-BE49-F238E27FC236}">
                <a16:creationId xmlns:a16="http://schemas.microsoft.com/office/drawing/2014/main" id="{C84C5BC0-9B18-46D3-9859-E399B3DB0690}"/>
              </a:ext>
            </a:extLst>
          </p:cNvPr>
          <p:cNvGrpSpPr/>
          <p:nvPr/>
        </p:nvGrpSpPr>
        <p:grpSpPr>
          <a:xfrm>
            <a:off x="10151671" y="3054028"/>
            <a:ext cx="1801749" cy="2258307"/>
            <a:chOff x="7679977" y="3471347"/>
            <a:chExt cx="1286256" cy="1693951"/>
          </a:xfrm>
        </p:grpSpPr>
        <p:sp>
          <p:nvSpPr>
            <p:cNvPr id="943" name="TextBox 942">
              <a:extLst>
                <a:ext uri="{FF2B5EF4-FFF2-40B4-BE49-F238E27FC236}">
                  <a16:creationId xmlns:a16="http://schemas.microsoft.com/office/drawing/2014/main" id="{9DF6D1A9-9879-4DEC-8D6A-B68977270708}"/>
                </a:ext>
              </a:extLst>
            </p:cNvPr>
            <p:cNvSpPr txBox="1"/>
            <p:nvPr/>
          </p:nvSpPr>
          <p:spPr>
            <a:xfrm>
              <a:off x="7688295" y="3471347"/>
              <a:ext cx="1277938" cy="71538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  <p:pic>
          <p:nvPicPr>
            <p:cNvPr id="944" name="Picture 943">
              <a:extLst>
                <a:ext uri="{FF2B5EF4-FFF2-40B4-BE49-F238E27FC236}">
                  <a16:creationId xmlns:a16="http://schemas.microsoft.com/office/drawing/2014/main" id="{104EAFE7-151D-4246-8E96-FEDAABCE5D1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9977" y="4153362"/>
              <a:ext cx="1286256" cy="1011936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89886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45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451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575A2087-8ECE-4496-88E6-62630D8EAC5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688859" y="3022653"/>
            <a:ext cx="812694" cy="81269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9FC35-2549-4CED-8643-48536D86C324}"/>
              </a:ext>
            </a:extLst>
          </p:cNvPr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r>
              <a:rPr lang="en-US" dirty="0"/>
              <a:t>Service station</a:t>
            </a:r>
          </a:p>
          <a:p>
            <a:pPr lvl="1"/>
            <a:r>
              <a:rPr lang="en-US" dirty="0"/>
              <a:t>Station located</a:t>
            </a:r>
          </a:p>
          <a:p>
            <a:pPr lvl="1"/>
            <a:r>
              <a:rPr lang="en-US" dirty="0"/>
              <a:t>Open station with spider tool</a:t>
            </a:r>
          </a:p>
          <a:p>
            <a:pPr lvl="1"/>
            <a:r>
              <a:rPr lang="en-US" dirty="0"/>
              <a:t>Inspect top of TBC for termite activity and/or signs of feeding.</a:t>
            </a:r>
          </a:p>
          <a:p>
            <a:pPr lvl="1"/>
            <a:r>
              <a:rPr lang="en-US" dirty="0"/>
              <a:t>Remove top TBC with cotter pin puller</a:t>
            </a:r>
          </a:p>
          <a:p>
            <a:pPr lvl="1"/>
            <a:r>
              <a:rPr lang="en-US" dirty="0"/>
              <a:t>Remove bottom TBC with cotter pin puller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D69AD87-51DF-4988-9169-BEA5DDB36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71" y="358117"/>
            <a:ext cx="10247881" cy="1343908"/>
          </a:xfrm>
        </p:spPr>
        <p:txBody>
          <a:bodyPr/>
          <a:lstStyle/>
          <a:p>
            <a:r>
              <a:rPr lang="en-US" dirty="0"/>
              <a:t>Inspecting &amp; Servicing </a:t>
            </a:r>
            <a:r>
              <a:rPr lang="en-US" dirty="0" err="1"/>
              <a:t>Trelona</a:t>
            </a:r>
            <a:r>
              <a:rPr lang="en-US" baseline="30000" dirty="0">
                <a:solidFill>
                  <a:schemeClr val="accent1"/>
                </a:solidFill>
              </a:rPr>
              <a:t>®</a:t>
            </a:r>
            <a:r>
              <a:rPr lang="en-US" dirty="0"/>
              <a:t> ATBS Annual Bait Stations</a:t>
            </a: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C668F759-5D2B-44BA-A137-8DEEEF0AAD3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9326" y="1872203"/>
            <a:ext cx="4704737" cy="3136490"/>
          </a:xfrm>
        </p:spPr>
      </p:pic>
      <p:pic>
        <p:nvPicPr>
          <p:cNvPr id="16" name="Content Placeholder 6">
            <a:extLst>
              <a:ext uri="{FF2B5EF4-FFF2-40B4-BE49-F238E27FC236}">
                <a16:creationId xmlns:a16="http://schemas.microsoft.com/office/drawing/2014/main" id="{2608078D-30B8-4FFB-A798-B7F71B587A7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69326" y="1872203"/>
            <a:ext cx="4704737" cy="313649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Content Placeholder 7">
            <a:extLst>
              <a:ext uri="{FF2B5EF4-FFF2-40B4-BE49-F238E27FC236}">
                <a16:creationId xmlns:a16="http://schemas.microsoft.com/office/drawing/2014/main" id="{E5F959C3-D585-484C-8764-19F9B66CFF8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69326" y="1872203"/>
            <a:ext cx="4704737" cy="248821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Content Placeholder 6">
            <a:extLst>
              <a:ext uri="{FF2B5EF4-FFF2-40B4-BE49-F238E27FC236}">
                <a16:creationId xmlns:a16="http://schemas.microsoft.com/office/drawing/2014/main" id="{67A147C5-C26A-49D2-8C5E-65B02B3CB8F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69326" y="1872203"/>
            <a:ext cx="4704737" cy="313649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Content Placeholder 7">
            <a:extLst>
              <a:ext uri="{FF2B5EF4-FFF2-40B4-BE49-F238E27FC236}">
                <a16:creationId xmlns:a16="http://schemas.microsoft.com/office/drawing/2014/main" id="{2E91B2F3-1972-41A0-A625-E1F53878C0F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69326" y="1860755"/>
            <a:ext cx="4704737" cy="313649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55" name="Group 954">
            <a:extLst>
              <a:ext uri="{FF2B5EF4-FFF2-40B4-BE49-F238E27FC236}">
                <a16:creationId xmlns:a16="http://schemas.microsoft.com/office/drawing/2014/main" id="{29AA9B6F-0B11-4910-A6CD-044B24FA60D8}"/>
              </a:ext>
            </a:extLst>
          </p:cNvPr>
          <p:cNvGrpSpPr/>
          <p:nvPr/>
        </p:nvGrpSpPr>
        <p:grpSpPr>
          <a:xfrm>
            <a:off x="10167589" y="2145121"/>
            <a:ext cx="1728444" cy="2901318"/>
            <a:chOff x="7647877" y="2987566"/>
            <a:chExt cx="1310666" cy="2176272"/>
          </a:xfrm>
        </p:grpSpPr>
        <p:pic>
          <p:nvPicPr>
            <p:cNvPr id="956" name="Picture 955">
              <a:extLst>
                <a:ext uri="{FF2B5EF4-FFF2-40B4-BE49-F238E27FC236}">
                  <a16:creationId xmlns:a16="http://schemas.microsoft.com/office/drawing/2014/main" id="{7792D2ED-429F-4D56-A595-BA63D4CA2E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1555" y="2987566"/>
              <a:ext cx="1296988" cy="2176272"/>
            </a:xfrm>
            <a:prstGeom prst="rect">
              <a:avLst/>
            </a:prstGeom>
          </p:spPr>
        </p:pic>
        <p:sp>
          <p:nvSpPr>
            <p:cNvPr id="957" name="TextBox 956">
              <a:extLst>
                <a:ext uri="{FF2B5EF4-FFF2-40B4-BE49-F238E27FC236}">
                  <a16:creationId xmlns:a16="http://schemas.microsoft.com/office/drawing/2014/main" id="{1DE68213-07E1-4867-A65C-54515C65BFDD}"/>
                </a:ext>
              </a:extLst>
            </p:cNvPr>
            <p:cNvSpPr txBox="1"/>
            <p:nvPr/>
          </p:nvSpPr>
          <p:spPr>
            <a:xfrm>
              <a:off x="7647877" y="2987566"/>
              <a:ext cx="1277938" cy="715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66" dirty="0">
                  <a:solidFill>
                    <a:schemeClr val="accent1"/>
                  </a:solidFill>
                </a:rPr>
                <a:t>Click on slide or down arrow ke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1084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219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9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90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3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700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20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20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7000"/>
                            </p:stCondLst>
                            <p:childTnLst>
                              <p:par>
                                <p:cTn id="27" presetID="1" presetClass="entr" presetSubtype="0" fill="hold" nodeType="afterEffect">
                                  <p:stCondLst>
                                    <p:cond delay="14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2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THINKCELLUNDODONOTDELETE" val="1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,34/21,2/1,78"/>
  <p:tag name="LOCKED" val="1"/>
  <p:tag name="WIZSHAPE" val="WizShape"/>
  <p:tag name="VISIBLE" val="System.Xml.XmlAttribu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3,9/24,5/9,6"/>
  <p:tag name="LOCKED" val="1"/>
  <p:tag name="WIZSHAPE" val="WizShape"/>
  <p:tag name="VISIBLE" val="System.Xml.XmlAttribu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,09/20,2/0,2"/>
  <p:tag name="LOCKED" val="1"/>
  <p:tag name="WIZSHAPE" val="WizShape"/>
  <p:tag name="VISIBLE" val="System.Xml.XmlAttribu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0/3,6/14,29"/>
  <p:tag name="LOCK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0,23/3,6/3,6"/>
  <p:tag name="LOCK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3,85/2/0,32"/>
  <p:tag name="LOCKED" val="1"/>
  <p:tag name="WIZSHAPE" val="WizShape"/>
  <p:tag name="VISIBLE" val="System.Xml.XmlAttribu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4/20,2/0,2"/>
  <p:tag name="LOCKED" val="1"/>
  <p:tag name="WIZSHAPE" val="WizShape"/>
  <p:tag name="VISIBLE" val="System.Xml.XmlAttribu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45/13,85/2/0,32"/>
  <p:tag name="LOCKED" val="1"/>
  <p:tag name="WIZSHAPE" val="WizShape"/>
  <p:tag name="VISIBLE" val="System.Xml.XmlAttribute"/>
</p:tagLst>
</file>

<file path=ppt/theme/theme1.xml><?xml version="1.0" encoding="utf-8"?>
<a:theme xmlns:a="http://schemas.openxmlformats.org/drawingml/2006/main" name="BASF_TitelDesign_V10">
  <a:themeElements>
    <a:clrScheme name="05 BASF red_colorsheme">
      <a:dk1>
        <a:srgbClr val="000000"/>
      </a:dk1>
      <a:lt1>
        <a:srgbClr val="FFFFFF"/>
      </a:lt1>
      <a:dk2>
        <a:srgbClr val="860000"/>
      </a:dk2>
      <a:lt2>
        <a:srgbClr val="FFFFFF"/>
      </a:lt2>
      <a:accent1>
        <a:srgbClr val="C50022"/>
      </a:accent1>
      <a:accent2>
        <a:srgbClr val="CE485C"/>
      </a:accent2>
      <a:accent3>
        <a:srgbClr val="E07789"/>
      </a:accent3>
      <a:accent4>
        <a:srgbClr val="EBA6B2"/>
      </a:accent4>
      <a:accent5>
        <a:srgbClr val="F8E0E4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8" id="{560B4314-16B0-49FA-9424-EB7E4113642E}" vid="{3D67129E-DBFA-45EF-900F-93C976EAEC14}"/>
    </a:ext>
  </a:extLst>
</a:theme>
</file>

<file path=ppt/theme/theme2.xml><?xml version="1.0" encoding="utf-8"?>
<a:theme xmlns:a="http://schemas.openxmlformats.org/drawingml/2006/main" name="BASF_FolienDesign_V10">
  <a:themeElements>
    <a:clrScheme name="05 BASF red_colorsheme">
      <a:dk1>
        <a:srgbClr val="000000"/>
      </a:dk1>
      <a:lt1>
        <a:srgbClr val="FFFFFF"/>
      </a:lt1>
      <a:dk2>
        <a:srgbClr val="860000"/>
      </a:dk2>
      <a:lt2>
        <a:srgbClr val="FFFFFF"/>
      </a:lt2>
      <a:accent1>
        <a:srgbClr val="C50022"/>
      </a:accent1>
      <a:accent2>
        <a:srgbClr val="CE485C"/>
      </a:accent2>
      <a:accent3>
        <a:srgbClr val="E07789"/>
      </a:accent3>
      <a:accent4>
        <a:srgbClr val="EBA6B2"/>
      </a:accent4>
      <a:accent5>
        <a:srgbClr val="F8E0E4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8" id="{560B4314-16B0-49FA-9424-EB7E4113642E}" vid="{ECA389A1-A6EC-413A-9591-AF76AF4E81CF}"/>
    </a:ext>
  </a:extLst>
</a:theme>
</file>

<file path=ppt/theme/theme3.xml><?xml version="1.0" encoding="utf-8"?>
<a:theme xmlns:a="http://schemas.openxmlformats.org/drawingml/2006/main" name="BASF_Finale_V10">
  <a:themeElements>
    <a:clrScheme name="05 BASF red_colorsheme">
      <a:dk1>
        <a:srgbClr val="000000"/>
      </a:dk1>
      <a:lt1>
        <a:srgbClr val="FFFFFF"/>
      </a:lt1>
      <a:dk2>
        <a:srgbClr val="860000"/>
      </a:dk2>
      <a:lt2>
        <a:srgbClr val="FFFFFF"/>
      </a:lt2>
      <a:accent1>
        <a:srgbClr val="C50022"/>
      </a:accent1>
      <a:accent2>
        <a:srgbClr val="CE485C"/>
      </a:accent2>
      <a:accent3>
        <a:srgbClr val="E07789"/>
      </a:accent3>
      <a:accent4>
        <a:srgbClr val="EBA6B2"/>
      </a:accent4>
      <a:accent5>
        <a:srgbClr val="F8E0E4"/>
      </a:accent5>
      <a:accent6>
        <a:srgbClr val="808080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F_Finale_V10" id="{03DD7B2E-C5B6-4C75-BDCC-F89119E3C33D}" vid="{A04FD191-080D-494D-B2DB-800F6FA11398}"/>
    </a:ext>
  </a:extLst>
</a:theme>
</file>

<file path=ppt/theme/theme4.xml><?xml version="1.0" encoding="utf-8"?>
<a:theme xmlns:a="http://schemas.openxmlformats.org/drawingml/2006/main" name="BASF_FolienDesign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C50022"/>
      </a:accent1>
      <a:accent2>
        <a:srgbClr val="939598"/>
      </a:accent2>
      <a:accent3>
        <a:srgbClr val="D74C63"/>
      </a:accent3>
      <a:accent4>
        <a:srgbClr val="EDB2BC"/>
      </a:accent4>
      <a:accent5>
        <a:srgbClr val="E27F90"/>
      </a:accent5>
      <a:accent6>
        <a:srgbClr val="F39500"/>
      </a:accent6>
      <a:hlink>
        <a:srgbClr val="C50022"/>
      </a:hlink>
      <a:folHlink>
        <a:srgbClr val="E07789"/>
      </a:folHlink>
    </a:clrScheme>
    <a:fontScheme name="Larissa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BASF_FolienDesign">
  <a:themeElements>
    <a:clrScheme name="BASF_colour_red">
      <a:dk1>
        <a:srgbClr val="000000"/>
      </a:dk1>
      <a:lt1>
        <a:srgbClr val="FFFFFF"/>
      </a:lt1>
      <a:dk2>
        <a:srgbClr val="860000"/>
      </a:dk2>
      <a:lt2>
        <a:srgbClr val="FFFFFF"/>
      </a:lt2>
      <a:accent1>
        <a:srgbClr val="C50022"/>
      </a:accent1>
      <a:accent2>
        <a:srgbClr val="CE485C"/>
      </a:accent2>
      <a:accent3>
        <a:srgbClr val="E07789"/>
      </a:accent3>
      <a:accent4>
        <a:srgbClr val="EBA6B2"/>
      </a:accent4>
      <a:accent5>
        <a:srgbClr val="F8E0E4"/>
      </a:accent5>
      <a:accent6>
        <a:srgbClr val="808080"/>
      </a:accent6>
      <a:hlink>
        <a:srgbClr val="004A96"/>
      </a:hlink>
      <a:folHlink>
        <a:srgbClr val="A6C0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BASF_TitelDesign_V10">
  <a:themeElements>
    <a:clrScheme name="05 BASF red_colorsheme">
      <a:dk1>
        <a:srgbClr val="000000"/>
      </a:dk1>
      <a:lt1>
        <a:srgbClr val="FFFFFF"/>
      </a:lt1>
      <a:dk2>
        <a:srgbClr val="860000"/>
      </a:dk2>
      <a:lt2>
        <a:srgbClr val="FFFFFF"/>
      </a:lt2>
      <a:accent1>
        <a:srgbClr val="C50022"/>
      </a:accent1>
      <a:accent2>
        <a:srgbClr val="CE485C"/>
      </a:accent2>
      <a:accent3>
        <a:srgbClr val="E07789"/>
      </a:accent3>
      <a:accent4>
        <a:srgbClr val="EBA6B2"/>
      </a:accent4>
      <a:accent5>
        <a:srgbClr val="F8E0E4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8" id="{560B4314-16B0-49FA-9424-EB7E4113642E}" vid="{3D67129E-DBFA-45EF-900F-93C976EAEC14}"/>
    </a:ext>
  </a:extLst>
</a:theme>
</file>

<file path=ppt/theme/theme7.xml><?xml version="1.0" encoding="utf-8"?>
<a:theme xmlns:a="http://schemas.openxmlformats.org/drawingml/2006/main" name="Larissa">
  <a:themeElements>
    <a:clrScheme name="BASF_red_colorsheme">
      <a:dk1>
        <a:srgbClr val="000000"/>
      </a:dk1>
      <a:lt1>
        <a:srgbClr val="FFFFFF"/>
      </a:lt1>
      <a:dk2>
        <a:srgbClr val="860000"/>
      </a:dk2>
      <a:lt2>
        <a:srgbClr val="FFFFFF"/>
      </a:lt2>
      <a:accent1>
        <a:srgbClr val="C50022"/>
      </a:accent1>
      <a:accent2>
        <a:srgbClr val="CE485C"/>
      </a:accent2>
      <a:accent3>
        <a:srgbClr val="E07789"/>
      </a:accent3>
      <a:accent4>
        <a:srgbClr val="EBA6B2"/>
      </a:accent4>
      <a:accent5>
        <a:srgbClr val="F8E0E4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Larissa">
  <a:themeElements>
    <a:clrScheme name="BASF_red_colorsheme">
      <a:dk1>
        <a:srgbClr val="000000"/>
      </a:dk1>
      <a:lt1>
        <a:srgbClr val="FFFFFF"/>
      </a:lt1>
      <a:dk2>
        <a:srgbClr val="860000"/>
      </a:dk2>
      <a:lt2>
        <a:srgbClr val="FFFFFF"/>
      </a:lt2>
      <a:accent1>
        <a:srgbClr val="C50022"/>
      </a:accent1>
      <a:accent2>
        <a:srgbClr val="CE485C"/>
      </a:accent2>
      <a:accent3>
        <a:srgbClr val="E07789"/>
      </a:accent3>
      <a:accent4>
        <a:srgbClr val="EBA6B2"/>
      </a:accent4>
      <a:accent5>
        <a:srgbClr val="F8E0E4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10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3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4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5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6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7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8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9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39</Words>
  <Application>Microsoft Office PowerPoint</Application>
  <PresentationFormat>Custom</PresentationFormat>
  <Paragraphs>140</Paragraphs>
  <Slides>17</Slides>
  <Notes>6</Notes>
  <HiddenSlides>0</HiddenSlides>
  <MMClips>16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</vt:lpstr>
      <vt:lpstr>Lucida Grande</vt:lpstr>
      <vt:lpstr>Wingdings</vt:lpstr>
      <vt:lpstr>Wingdings 3</vt:lpstr>
      <vt:lpstr>BASF_TitelDesign_V10</vt:lpstr>
      <vt:lpstr>BASF_FolienDesign_V10</vt:lpstr>
      <vt:lpstr>BASF_Finale_V10</vt:lpstr>
      <vt:lpstr>BASF_FolienDesign</vt:lpstr>
      <vt:lpstr>4_BASF_FolienDesign</vt:lpstr>
      <vt:lpstr>1_BASF_TitelDesign_V10</vt:lpstr>
      <vt:lpstr>think-cell Slide</vt:lpstr>
      <vt:lpstr>think-cell Folie</vt:lpstr>
      <vt:lpstr>PowerPoint Presentation</vt:lpstr>
      <vt:lpstr>Inspecting &amp; Servicing Trelona® ATBS Annual Bait Stations</vt:lpstr>
      <vt:lpstr>Trelona® ATBS Annual Bait Stations  Station Inspection Intervals per Label:</vt:lpstr>
      <vt:lpstr>Trelona® ATBS Annual Bait Stations  Station Inspection Intervals per Label: </vt:lpstr>
      <vt:lpstr>PowerPoint Presentation</vt:lpstr>
      <vt:lpstr>PowerPoint Presentation</vt:lpstr>
      <vt:lpstr>Inspecting &amp; Servicing Trelona® ATBS Annual Bait Stations</vt:lpstr>
      <vt:lpstr>Inspecting &amp; Servicing Trelona® ATBS Annual Bait Stations</vt:lpstr>
      <vt:lpstr>Inspecting &amp; Servicing Trelona® ATBS Annual Bait Stations</vt:lpstr>
      <vt:lpstr>Inspecting &amp; Servicing Trelona® ATBS Annual Bait Stations</vt:lpstr>
      <vt:lpstr>Inspecting &amp; Servicing Trelona® ATBS Annual Bait Stations</vt:lpstr>
      <vt:lpstr>Inspecting &amp; Servicing Trelona® ATBS Annual Bait Stations</vt:lpstr>
      <vt:lpstr>Inspecting &amp; Servicing Trelona® ATBS Annual Bait Stations</vt:lpstr>
      <vt:lpstr>Inspecting &amp; Servicing Trelona® ATBS Annual Bait Stations</vt:lpstr>
      <vt:lpstr>Thank You! </vt:lpstr>
      <vt:lpstr>BASF Product Stewardship</vt:lpstr>
      <vt:lpstr>PowerPoint Presentation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Jaeger</dc:creator>
  <cp:lastModifiedBy>lisa.tutor@basf.com</cp:lastModifiedBy>
  <cp:revision>326</cp:revision>
  <cp:lastPrinted>2017-06-09T08:22:17Z</cp:lastPrinted>
  <dcterms:created xsi:type="dcterms:W3CDTF">2012-05-08T13:55:24Z</dcterms:created>
  <dcterms:modified xsi:type="dcterms:W3CDTF">2022-09-23T14:4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MSIP_Label_c8c00982-80e1-41e6-a03a-12f4ca954faf_Enabled">
    <vt:lpwstr>True</vt:lpwstr>
  </property>
  <property fmtid="{D5CDD505-2E9C-101B-9397-08002B2CF9AE}" pid="4" name="MSIP_Label_c8c00982-80e1-41e6-a03a-12f4ca954faf_SiteId">
    <vt:lpwstr>ecaa386b-c8df-4ce0-ad01-740cbdb5ba55</vt:lpwstr>
  </property>
  <property fmtid="{D5CDD505-2E9C-101B-9397-08002B2CF9AE}" pid="5" name="MSIP_Label_c8c00982-80e1-41e6-a03a-12f4ca954faf_Owner">
    <vt:lpwstr>DAVISRW@BASFAD.BASF.NET</vt:lpwstr>
  </property>
  <property fmtid="{D5CDD505-2E9C-101B-9397-08002B2CF9AE}" pid="6" name="MSIP_Label_c8c00982-80e1-41e6-a03a-12f4ca954faf_SetDate">
    <vt:lpwstr>2020-12-16T16:57:15.2042261Z</vt:lpwstr>
  </property>
  <property fmtid="{D5CDD505-2E9C-101B-9397-08002B2CF9AE}" pid="7" name="MSIP_Label_c8c00982-80e1-41e6-a03a-12f4ca954faf_Name">
    <vt:lpwstr>Internal</vt:lpwstr>
  </property>
  <property fmtid="{D5CDD505-2E9C-101B-9397-08002B2CF9AE}" pid="8" name="MSIP_Label_c8c00982-80e1-41e6-a03a-12f4ca954faf_Application">
    <vt:lpwstr>Microsoft Azure Information Protection</vt:lpwstr>
  </property>
  <property fmtid="{D5CDD505-2E9C-101B-9397-08002B2CF9AE}" pid="9" name="MSIP_Label_c8c00982-80e1-41e6-a03a-12f4ca954faf_ActionId">
    <vt:lpwstr>b1659111-c32d-429b-9425-6af7a92ee332</vt:lpwstr>
  </property>
  <property fmtid="{D5CDD505-2E9C-101B-9397-08002B2CF9AE}" pid="10" name="MSIP_Label_c8c00982-80e1-41e6-a03a-12f4ca954faf_Extended_MSFT_Method">
    <vt:lpwstr>Automatic</vt:lpwstr>
  </property>
  <property fmtid="{D5CDD505-2E9C-101B-9397-08002B2CF9AE}" pid="11" name="MSIP_Label_06530cf4-8573-4c29-a912-bbcdac835909_Enabled">
    <vt:lpwstr>true</vt:lpwstr>
  </property>
  <property fmtid="{D5CDD505-2E9C-101B-9397-08002B2CF9AE}" pid="12" name="MSIP_Label_06530cf4-8573-4c29-a912-bbcdac835909_SetDate">
    <vt:lpwstr>2022-09-19T19:27:01Z</vt:lpwstr>
  </property>
  <property fmtid="{D5CDD505-2E9C-101B-9397-08002B2CF9AE}" pid="13" name="MSIP_Label_06530cf4-8573-4c29-a912-bbcdac835909_Method">
    <vt:lpwstr>Standard</vt:lpwstr>
  </property>
  <property fmtid="{D5CDD505-2E9C-101B-9397-08002B2CF9AE}" pid="14" name="MSIP_Label_06530cf4-8573-4c29-a912-bbcdac835909_Name">
    <vt:lpwstr>06530cf4-8573-4c29-a912-bbcdac835909</vt:lpwstr>
  </property>
  <property fmtid="{D5CDD505-2E9C-101B-9397-08002B2CF9AE}" pid="15" name="MSIP_Label_06530cf4-8573-4c29-a912-bbcdac835909_SiteId">
    <vt:lpwstr>ecaa386b-c8df-4ce0-ad01-740cbdb5ba55</vt:lpwstr>
  </property>
  <property fmtid="{D5CDD505-2E9C-101B-9397-08002B2CF9AE}" pid="16" name="MSIP_Label_06530cf4-8573-4c29-a912-bbcdac835909_ActionId">
    <vt:lpwstr>deff5bca-a5f4-4121-b9ab-5978b91924d6</vt:lpwstr>
  </property>
  <property fmtid="{D5CDD505-2E9C-101B-9397-08002B2CF9AE}" pid="17" name="MSIP_Label_06530cf4-8573-4c29-a912-bbcdac835909_ContentBits">
    <vt:lpwstr>2</vt:lpwstr>
  </property>
</Properties>
</file>